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2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3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3" r:id="rId1"/>
    <p:sldMasterId id="2147483755" r:id="rId2"/>
    <p:sldMasterId id="2147483823" r:id="rId3"/>
  </p:sldMasterIdLst>
  <p:notesMasterIdLst>
    <p:notesMasterId r:id="rId17"/>
  </p:notesMasterIdLst>
  <p:handoutMasterIdLst>
    <p:handoutMasterId r:id="rId18"/>
  </p:handoutMasterIdLst>
  <p:sldIdLst>
    <p:sldId id="2147469278" r:id="rId4"/>
    <p:sldId id="2147469284" r:id="rId5"/>
    <p:sldId id="678" r:id="rId6"/>
    <p:sldId id="2147469286" r:id="rId7"/>
    <p:sldId id="2147469240" r:id="rId8"/>
    <p:sldId id="2147469300" r:id="rId9"/>
    <p:sldId id="2147469295" r:id="rId10"/>
    <p:sldId id="2147469299" r:id="rId11"/>
    <p:sldId id="2147469283" r:id="rId12"/>
    <p:sldId id="679" r:id="rId13"/>
    <p:sldId id="2147469290" r:id="rId14"/>
    <p:sldId id="2147469291" r:id="rId15"/>
    <p:sldId id="2147469288" r:id="rId16"/>
  </p:sldIdLst>
  <p:sldSz cx="10691813" cy="6011863"/>
  <p:notesSz cx="6858000" cy="9144000"/>
  <p:custDataLst>
    <p:tags r:id="rId19"/>
  </p:custDataLst>
  <p:defaultTextStyle>
    <a:defPPr>
      <a:defRPr lang="cs-CZ"/>
    </a:defPPr>
    <a:lvl1pPr marL="0" algn="l" defTabSz="1042742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21372" algn="l" defTabSz="1042742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42742" algn="l" defTabSz="1042742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564114" algn="l" defTabSz="1042742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085487" algn="l" defTabSz="1042742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06858" algn="l" defTabSz="1042742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128229" algn="l" defTabSz="1042742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649601" algn="l" defTabSz="1042742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170973" algn="l" defTabSz="1042742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Výchozí oddíl" id="{A7178EF7-9504-422E-B0D6-568C15DAE539}">
          <p14:sldIdLst>
            <p14:sldId id="2147469278"/>
            <p14:sldId id="2147469284"/>
            <p14:sldId id="678"/>
            <p14:sldId id="2147469286"/>
            <p14:sldId id="2147469240"/>
            <p14:sldId id="2147469300"/>
            <p14:sldId id="2147469295"/>
            <p14:sldId id="2147469299"/>
            <p14:sldId id="2147469283"/>
            <p14:sldId id="679"/>
            <p14:sldId id="2147469290"/>
            <p14:sldId id="2147469291"/>
            <p14:sldId id="2147469288"/>
          </p14:sldIdLst>
        </p14:section>
      </p14:sectionLst>
    </p:ext>
    <p:ext uri="{EFAFB233-063F-42B5-8137-9DF3F51BA10A}">
      <p15:sldGuideLst xmlns:p15="http://schemas.microsoft.com/office/powerpoint/2012/main">
        <p15:guide id="2" orient="horz" pos="3368" userDrawn="1">
          <p15:clr>
            <a:srgbClr val="A4A3A4"/>
          </p15:clr>
        </p15:guide>
        <p15:guide id="3" orient="horz" pos="828" userDrawn="1">
          <p15:clr>
            <a:srgbClr val="A4A3A4"/>
          </p15:clr>
        </p15:guide>
        <p15:guide id="4" pos="283" userDrawn="1">
          <p15:clr>
            <a:srgbClr val="A4A3A4"/>
          </p15:clr>
        </p15:guide>
        <p15:guide id="5" pos="645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12C8C85-51F0-491E-9774-3900AFEF0FD7}" styleName="Světlý styl 2 – zvýraznění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10A1B5D5-9B99-4C35-A422-299274C87663}" styleName="Střední styl 1 – zvýraznění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7419" autoAdjust="0"/>
    <p:restoredTop sz="94980" autoAdjust="0"/>
  </p:normalViewPr>
  <p:slideViewPr>
    <p:cSldViewPr snapToGrid="0">
      <p:cViewPr varScale="1">
        <p:scale>
          <a:sx n="136" d="100"/>
          <a:sy n="136" d="100"/>
        </p:scale>
        <p:origin x="708" y="120"/>
      </p:cViewPr>
      <p:guideLst>
        <p:guide orient="horz" pos="3368"/>
        <p:guide orient="horz" pos="828"/>
        <p:guide pos="283"/>
        <p:guide pos="6452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 varScale="1">
        <p:scale>
          <a:sx n="85" d="100"/>
          <a:sy n="85" d="100"/>
        </p:scale>
        <p:origin x="3804" y="8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Relationship Id="rId21" Type="http://schemas.openxmlformats.org/officeDocument/2006/relationships/viewProps" Target="view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tableStyles" Target="tableStyles.xml"/><Relationship Id="rId10" Type="http://schemas.openxmlformats.org/officeDocument/2006/relationships/slide" Target="slides/slide7.xml"/><Relationship Id="rId19" Type="http://schemas.openxmlformats.org/officeDocument/2006/relationships/tags" Target="tags/tag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946475602310662E-2"/>
          <c:y val="8.4369229977151378E-2"/>
          <c:w val="0.9440535243976893"/>
          <c:h val="0.83002215937895607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Řada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712-4FA7-A13C-F55EB7CB9256}"/>
              </c:ext>
            </c:extLst>
          </c:dPt>
          <c:dLbls>
            <c:dLbl>
              <c:idx val="0"/>
              <c:layout>
                <c:manualLayout>
                  <c:x val="2.3762355489328644E-3"/>
                  <c:y val="-2.4993161320032511E-2"/>
                </c:manualLayout>
              </c:layout>
              <c:tx>
                <c:rich>
                  <a:bodyPr/>
                  <a:lstStyle/>
                  <a:p>
                    <a:fld id="{A5378F77-5ECA-4393-AAAE-C820E68DE5E3}" type="CELLRANGE">
                      <a:rPr lang="en-US" smtClean="0"/>
                      <a:pPr/>
                      <a:t>[OBLAST BUNĚK]</a:t>
                    </a:fld>
                    <a:endParaRPr lang="cs-CZ"/>
                  </a:p>
                </c:rich>
              </c:tx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D712-4FA7-A13C-F55EB7CB9256}"/>
                </c:ext>
              </c:extLst>
            </c:dLbl>
            <c:dLbl>
              <c:idx val="1"/>
              <c:layout>
                <c:manualLayout>
                  <c:x val="0"/>
                  <c:y val="-2.4993161320032511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45</a:t>
                    </a:r>
                  </a:p>
                </c:rich>
              </c:tx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D712-4FA7-A13C-F55EB7CB9256}"/>
                </c:ext>
              </c:extLst>
            </c:dLbl>
            <c:dLbl>
              <c:idx val="2"/>
              <c:layout>
                <c:manualLayout>
                  <c:x val="-8.7127630288385045E-17"/>
                  <c:y val="-3.5704516171475145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103</a:t>
                    </a:r>
                  </a:p>
                </c:rich>
              </c:tx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D712-4FA7-A13C-F55EB7CB9256}"/>
                </c:ext>
              </c:extLst>
            </c:dLbl>
            <c:dLbl>
              <c:idx val="3"/>
              <c:layout>
                <c:manualLayout>
                  <c:x val="0"/>
                  <c:y val="-4.6415871022917651E-2"/>
                </c:manualLayout>
              </c:layout>
              <c:tx>
                <c:rich>
                  <a:bodyPr/>
                  <a:lstStyle/>
                  <a:p>
                    <a:r>
                      <a:rPr lang="en-US" dirty="0">
                        <a:solidFill>
                          <a:srgbClr val="78FAAE"/>
                        </a:solidFill>
                      </a:rPr>
                      <a:t>150</a:t>
                    </a:r>
                  </a:p>
                </c:rich>
              </c:tx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D712-4FA7-A13C-F55EB7CB925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rgbClr val="78FAAE"/>
                    </a:solidFill>
                    <a:latin typeface="SKODA Next" panose="020B0504020603020204" pitchFamily="34" charset="0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5</c:f>
              <c:strCach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05 / 2023</c:v>
                </c:pt>
              </c:strCache>
            </c:strRef>
          </c:cat>
          <c:val>
            <c:numRef>
              <c:f>List1!$B$2:$B$5</c:f>
              <c:numCache>
                <c:formatCode>General</c:formatCode>
                <c:ptCount val="4"/>
                <c:pt idx="0">
                  <c:v>21</c:v>
                </c:pt>
                <c:pt idx="1">
                  <c:v>45</c:v>
                </c:pt>
                <c:pt idx="2">
                  <c:v>103</c:v>
                </c:pt>
                <c:pt idx="3">
                  <c:v>150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List1!$B$2:$B$5</c15:f>
                <c15:dlblRangeCache>
                  <c:ptCount val="4"/>
                  <c:pt idx="0">
                    <c:v>21</c:v>
                  </c:pt>
                  <c:pt idx="1">
                    <c:v>45</c:v>
                  </c:pt>
                  <c:pt idx="2">
                    <c:v>103</c:v>
                  </c:pt>
                  <c:pt idx="3">
                    <c:v>150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4-D712-4FA7-A13C-F55EB7CB9256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Řada 2</c:v>
                </c:pt>
              </c:strCache>
            </c:strRef>
          </c:tx>
          <c:spPr>
            <a:solidFill>
              <a:srgbClr val="0E3A2F"/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F4B1-4D1A-B6FE-DCD8802C220F}"/>
              </c:ext>
            </c:extLst>
          </c:dPt>
          <c:dLbls>
            <c:dLbl>
              <c:idx val="0"/>
              <c:layout>
                <c:manualLayout>
                  <c:x val="2.3762355489328644E-3"/>
                  <c:y val="-0.15589013467349908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F4B1-4D1A-B6FE-DCD8802C220F}"/>
                </c:ext>
              </c:extLst>
            </c:dLbl>
            <c:dLbl>
              <c:idx val="1"/>
              <c:layout>
                <c:manualLayout>
                  <c:x val="-2.3762355489328644E-3"/>
                  <c:y val="-0.20989391822766154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F4B1-4D1A-B6FE-DCD8802C220F}"/>
                </c:ext>
              </c:extLst>
            </c:dLbl>
            <c:dLbl>
              <c:idx val="2"/>
              <c:layout>
                <c:manualLayout>
                  <c:x val="0"/>
                  <c:y val="-0.30296856343863166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F4B1-4D1A-B6FE-DCD8802C220F}"/>
                </c:ext>
              </c:extLst>
            </c:dLbl>
            <c:dLbl>
              <c:idx val="3"/>
              <c:layout>
                <c:manualLayout>
                  <c:x val="0"/>
                  <c:y val="-0.28261867604842655"/>
                </c:manualLayout>
              </c:layout>
              <c:tx>
                <c:rich>
                  <a:bodyPr/>
                  <a:lstStyle/>
                  <a:p>
                    <a:r>
                      <a:rPr lang="en-US" sz="1500" dirty="0"/>
                      <a:t>4441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6-F4B1-4D1A-B6FE-DCD8802C220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>
                  <a:defRPr sz="1500" b="1" i="0" u="none" strike="noStrike" kern="1200" baseline="0">
                    <a:solidFill>
                      <a:srgbClr val="0E3A2F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List1!$A$2:$A$5</c:f>
              <c:strCach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05 / 2023</c:v>
                </c:pt>
              </c:strCache>
            </c:strRef>
          </c:cat>
          <c:val>
            <c:numRef>
              <c:f>List1!$C$2:$C$5</c:f>
              <c:numCache>
                <c:formatCode>General</c:formatCode>
                <c:ptCount val="4"/>
                <c:pt idx="0">
                  <c:v>1516</c:v>
                </c:pt>
                <c:pt idx="1">
                  <c:v>2400</c:v>
                </c:pt>
                <c:pt idx="2">
                  <c:v>3694</c:v>
                </c:pt>
                <c:pt idx="3">
                  <c:v>55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4B1-4D1A-B6FE-DCD8802C220F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32"/>
        <c:overlap val="100"/>
        <c:axId val="641017336"/>
        <c:axId val="484835472"/>
      </c:barChart>
      <c:catAx>
        <c:axId val="6410173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84835472"/>
        <c:crosses val="autoZero"/>
        <c:auto val="1"/>
        <c:lblAlgn val="ctr"/>
        <c:lblOffset val="100"/>
        <c:noMultiLvlLbl val="0"/>
      </c:catAx>
      <c:valAx>
        <c:axId val="48483547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6410173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5400000" cy="324000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1200"/>
            </a:lvl1pPr>
          </a:lstStyle>
          <a:p>
            <a:endParaRPr lang="cs-CZ" sz="900">
              <a:latin typeface="SKODA Next" panose="020B0504020603020204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quarter" idx="1"/>
          </p:nvPr>
        </p:nvSpPr>
        <p:spPr>
          <a:xfrm>
            <a:off x="5886000" y="0"/>
            <a:ext cx="972000" cy="324000"/>
          </a:xfrm>
          <a:prstGeom prst="rect">
            <a:avLst/>
          </a:prstGeom>
        </p:spPr>
        <p:txBody>
          <a:bodyPr vert="horz" lIns="0" tIns="0" rIns="0" bIns="0" rtlCol="0"/>
          <a:lstStyle>
            <a:lvl1pPr algn="r">
              <a:defRPr sz="1200"/>
            </a:lvl1pPr>
          </a:lstStyle>
          <a:p>
            <a:fld id="{839AC645-426F-485D-BF89-D5B06960D6A1}" type="datetimeFigureOut">
              <a:rPr lang="cs-CZ" sz="900" smtClean="0">
                <a:latin typeface="SKODA Next" panose="020B0504020603020204" pitchFamily="34" charset="0"/>
                <a:ea typeface="Verdana" pitchFamily="34" charset="0"/>
                <a:cs typeface="Verdana" pitchFamily="34" charset="0"/>
              </a:rPr>
              <a:pPr/>
              <a:t>06.06.2023</a:t>
            </a:fld>
            <a:endParaRPr lang="cs-CZ" sz="900">
              <a:latin typeface="SKODA Next" panose="020B0504020603020204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2"/>
          </p:nvPr>
        </p:nvSpPr>
        <p:spPr>
          <a:xfrm>
            <a:off x="0" y="8820000"/>
            <a:ext cx="5400000" cy="32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200"/>
            </a:lvl1pPr>
          </a:lstStyle>
          <a:p>
            <a:endParaRPr lang="cs-CZ" sz="900">
              <a:latin typeface="SKODA Next" panose="020B0504020603020204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3"/>
          </p:nvPr>
        </p:nvSpPr>
        <p:spPr>
          <a:xfrm>
            <a:off x="5886000" y="8820000"/>
            <a:ext cx="972000" cy="32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200"/>
            </a:lvl1pPr>
          </a:lstStyle>
          <a:p>
            <a:fld id="{D4CF9FA0-453B-44E2-87EE-486FCDD97806}" type="slidenum">
              <a:rPr lang="cs-CZ" sz="900" smtClean="0">
                <a:latin typeface="SKODA Next" panose="020B0504020603020204" pitchFamily="34" charset="0"/>
                <a:ea typeface="Verdana" pitchFamily="34" charset="0"/>
                <a:cs typeface="Verdana" pitchFamily="34" charset="0"/>
              </a:rPr>
              <a:pPr/>
              <a:t>‹#›</a:t>
            </a:fld>
            <a:endParaRPr lang="cs-CZ" sz="900">
              <a:latin typeface="SKODA Next" panose="020B0504020603020204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2387286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5400000" cy="324000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900"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endParaRPr lang="cs-CZ" noProof="0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5886000" y="0"/>
            <a:ext cx="972000" cy="324000"/>
          </a:xfrm>
          <a:prstGeom prst="rect">
            <a:avLst/>
          </a:prstGeom>
        </p:spPr>
        <p:txBody>
          <a:bodyPr vert="horz" lIns="0" tIns="0" rIns="0" bIns="0" rtlCol="0"/>
          <a:lstStyle>
            <a:lvl1pPr algn="r">
              <a:defRPr sz="900"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3DF265A4-7ECE-4568-9246-39EF07969DAF}" type="datetimeFigureOut">
              <a:rPr lang="cs-CZ" noProof="0" smtClean="0"/>
              <a:pPr/>
              <a:t>06.06.2023</a:t>
            </a:fld>
            <a:endParaRPr lang="cs-CZ" noProof="0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 noProof="0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820000"/>
            <a:ext cx="5400000" cy="32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900"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endParaRPr lang="cs-CZ" noProof="0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5886000" y="8820000"/>
            <a:ext cx="972000" cy="32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7DCD363E-0387-4F03-A368-7EC1FE0C90C6}" type="slidenum">
              <a:rPr lang="cs-CZ" noProof="0" smtClean="0"/>
              <a:pPr/>
              <a:t>‹#›</a:t>
            </a:fld>
            <a:endParaRPr lang="cs-CZ" noProof="0"/>
          </a:p>
        </p:txBody>
      </p:sp>
    </p:spTree>
    <p:extLst>
      <p:ext uri="{BB962C8B-B14F-4D97-AF65-F5344CB8AC3E}">
        <p14:creationId xmlns:p14="http://schemas.microsoft.com/office/powerpoint/2010/main" val="311283721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80000" indent="-179946" algn="l" defTabSz="1042742" rtl="0" eaLnBrk="1" latinLnBrk="0" hangingPunct="1">
      <a:buClr>
        <a:schemeClr val="tx1"/>
      </a:buClr>
      <a:buFont typeface="SKODA Next" panose="020B0504020603020204" pitchFamily="34" charset="0"/>
      <a:buChar char="−"/>
      <a:defRPr sz="900" kern="1200">
        <a:solidFill>
          <a:schemeClr val="tx1"/>
        </a:solidFill>
        <a:latin typeface="SKODA Next" panose="020B0504020603020204" pitchFamily="34" charset="0"/>
        <a:ea typeface="Verdana" pitchFamily="34" charset="0"/>
        <a:cs typeface="Verdana" pitchFamily="34" charset="0"/>
      </a:defRPr>
    </a:lvl1pPr>
    <a:lvl2pPr marL="360000" indent="-179946" algn="l" defTabSz="1042742" rtl="0" eaLnBrk="1" latinLnBrk="0" hangingPunct="1">
      <a:buClr>
        <a:schemeClr val="tx1"/>
      </a:buClr>
      <a:buFont typeface="SKODA Next" panose="020B0504020603020204" pitchFamily="34" charset="0"/>
      <a:buChar char="−"/>
      <a:defRPr sz="900" kern="1200">
        <a:solidFill>
          <a:schemeClr val="tx1"/>
        </a:solidFill>
        <a:latin typeface="SKODA Next" panose="020B0504020603020204" pitchFamily="34" charset="0"/>
        <a:ea typeface="Verdana" pitchFamily="34" charset="0"/>
        <a:cs typeface="Verdana" pitchFamily="34" charset="0"/>
      </a:defRPr>
    </a:lvl2pPr>
    <a:lvl3pPr marL="540000" indent="-179946" algn="l" defTabSz="1042742" rtl="0" eaLnBrk="1" latinLnBrk="0" hangingPunct="1">
      <a:buClr>
        <a:schemeClr val="tx1"/>
      </a:buClr>
      <a:buFont typeface="SKODA Next" panose="020B0504020603020204" pitchFamily="34" charset="0"/>
      <a:buChar char="−"/>
      <a:defRPr sz="900" kern="1200">
        <a:solidFill>
          <a:schemeClr val="tx1"/>
        </a:solidFill>
        <a:latin typeface="SKODA Next" panose="020B0504020603020204" pitchFamily="34" charset="0"/>
        <a:ea typeface="Verdana" pitchFamily="34" charset="0"/>
        <a:cs typeface="Verdana" pitchFamily="34" charset="0"/>
      </a:defRPr>
    </a:lvl3pPr>
    <a:lvl4pPr marL="720000" indent="-179946" algn="l" defTabSz="1042742" rtl="0" eaLnBrk="1" latinLnBrk="0" hangingPunct="1">
      <a:buClr>
        <a:schemeClr val="tx1"/>
      </a:buClr>
      <a:buFont typeface="SKODA Next" panose="020B0504020603020204" pitchFamily="34" charset="0"/>
      <a:buChar char="−"/>
      <a:defRPr sz="900" kern="1200">
        <a:solidFill>
          <a:schemeClr val="tx1"/>
        </a:solidFill>
        <a:latin typeface="SKODA Next" panose="020B0504020603020204" pitchFamily="34" charset="0"/>
        <a:ea typeface="Verdana" pitchFamily="34" charset="0"/>
        <a:cs typeface="Verdana" pitchFamily="34" charset="0"/>
      </a:defRPr>
    </a:lvl4pPr>
    <a:lvl5pPr marL="900000" indent="-179946" algn="l" defTabSz="1042742" rtl="0" eaLnBrk="1" latinLnBrk="0" hangingPunct="1">
      <a:buClr>
        <a:schemeClr val="tx1"/>
      </a:buClr>
      <a:buFont typeface="SKODA Next" panose="020B0504020603020204" pitchFamily="34" charset="0"/>
      <a:buChar char="−"/>
      <a:defRPr sz="900" kern="1200">
        <a:solidFill>
          <a:schemeClr val="tx1"/>
        </a:solidFill>
        <a:latin typeface="SKODA Next" panose="020B0504020603020204" pitchFamily="34" charset="0"/>
        <a:ea typeface="Verdana" pitchFamily="34" charset="0"/>
        <a:cs typeface="Verdana" pitchFamily="34" charset="0"/>
      </a:defRPr>
    </a:lvl5pPr>
    <a:lvl6pPr marL="1080000" indent="-180000" algn="l" defTabSz="1042742" rtl="0" eaLnBrk="1" latinLnBrk="0" hangingPunct="1">
      <a:buFont typeface="SKODA Next" panose="020B0504020603020204" pitchFamily="34" charset="0"/>
      <a:buChar char="−"/>
      <a:defRPr sz="900" kern="1200">
        <a:solidFill>
          <a:schemeClr val="tx1"/>
        </a:solidFill>
        <a:latin typeface="SKODA Next" panose="020B0504020603020204" pitchFamily="34" charset="0"/>
        <a:ea typeface="+mn-ea"/>
        <a:cs typeface="+mn-cs"/>
      </a:defRPr>
    </a:lvl6pPr>
    <a:lvl7pPr marL="1260000" indent="-180000" algn="l" defTabSz="1042742" rtl="0" eaLnBrk="1" latinLnBrk="0" hangingPunct="1">
      <a:buFont typeface="SKODA Next" panose="020B0504020603020204" pitchFamily="34" charset="0"/>
      <a:buChar char="−"/>
      <a:defRPr sz="900" kern="1200">
        <a:solidFill>
          <a:schemeClr val="tx1"/>
        </a:solidFill>
        <a:latin typeface="SKODA Next" panose="020B0504020603020204" pitchFamily="34" charset="0"/>
        <a:ea typeface="+mn-ea"/>
        <a:cs typeface="+mn-cs"/>
      </a:defRPr>
    </a:lvl7pPr>
    <a:lvl8pPr marL="1440000" indent="-180000" algn="l" defTabSz="1042742" rtl="0" eaLnBrk="1" latinLnBrk="0" hangingPunct="1">
      <a:buFont typeface="SKODA Next" panose="020B0504020603020204" pitchFamily="34" charset="0"/>
      <a:buChar char="−"/>
      <a:defRPr sz="900" kern="1200">
        <a:solidFill>
          <a:schemeClr val="tx1"/>
        </a:solidFill>
        <a:latin typeface="SKODA Next" panose="020B0504020603020204" pitchFamily="34" charset="0"/>
        <a:ea typeface="+mn-ea"/>
        <a:cs typeface="+mn-cs"/>
      </a:defRPr>
    </a:lvl8pPr>
    <a:lvl9pPr marL="1620000" indent="-180000" algn="l" defTabSz="1042742" rtl="0" eaLnBrk="1" latinLnBrk="0" hangingPunct="1">
      <a:buFont typeface="SKODA Next" panose="020B0504020603020204" pitchFamily="34" charset="0"/>
      <a:buChar char="−"/>
      <a:defRPr sz="900" kern="1200">
        <a:solidFill>
          <a:schemeClr val="tx1"/>
        </a:solidFill>
        <a:latin typeface="SKODA Next" panose="020B0504020603020204" pitchFamily="34" charset="0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CD363E-0387-4F03-A368-7EC1FE0C90C6}" type="slidenum">
              <a:rPr lang="cs-CZ" noProof="0" smtClean="0"/>
              <a:pPr/>
              <a:t>1</a:t>
            </a:fld>
            <a:endParaRPr lang="cs-CZ" noProof="0"/>
          </a:p>
        </p:txBody>
      </p:sp>
    </p:spTree>
    <p:extLst>
      <p:ext uri="{BB962C8B-B14F-4D97-AF65-F5344CB8AC3E}">
        <p14:creationId xmlns:p14="http://schemas.microsoft.com/office/powerpoint/2010/main" val="40131746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V letech 2024 – 2026 uvedeme postupně na trh 6 nových modelů.</a:t>
            </a:r>
          </a:p>
          <a:p>
            <a:r>
              <a:rPr lang="cs-CZ" dirty="0"/>
              <a:t>První na řadě bude tzv. </a:t>
            </a:r>
            <a:r>
              <a:rPr lang="cs-CZ" dirty="0" err="1"/>
              <a:t>Compact</a:t>
            </a:r>
            <a:r>
              <a:rPr lang="cs-CZ" dirty="0"/>
              <a:t>, dnes už má i oficiálně potvrzený název, </a:t>
            </a:r>
            <a:r>
              <a:rPr lang="cs-CZ" dirty="0" err="1"/>
              <a:t>Elroq</a:t>
            </a:r>
            <a:r>
              <a:rPr lang="cs-CZ" dirty="0"/>
              <a:t>. Bude to auto velikosti současného </a:t>
            </a:r>
            <a:r>
              <a:rPr lang="cs-CZ" dirty="0" err="1"/>
              <a:t>Karoqu</a:t>
            </a:r>
            <a:r>
              <a:rPr lang="cs-CZ" dirty="0"/>
              <a:t>. Na trh přijde na přelomu 2024/2025.</a:t>
            </a:r>
          </a:p>
          <a:p>
            <a:r>
              <a:rPr lang="cs-CZ" dirty="0"/>
              <a:t>V letech 2025 a 2026 budou následovat: malé auto (něco mezi Fábií a </a:t>
            </a:r>
            <a:r>
              <a:rPr lang="cs-CZ" dirty="0" err="1"/>
              <a:t>Kamiqem</a:t>
            </a:r>
            <a:r>
              <a:rPr lang="cs-CZ" dirty="0"/>
              <a:t>), </a:t>
            </a:r>
            <a:r>
              <a:rPr lang="cs-CZ" dirty="0" err="1"/>
              <a:t>Combi</a:t>
            </a:r>
            <a:r>
              <a:rPr lang="cs-CZ" dirty="0"/>
              <a:t> (představte si něco jako současná Octavia </a:t>
            </a:r>
            <a:r>
              <a:rPr lang="cs-CZ" dirty="0" err="1"/>
              <a:t>Combi</a:t>
            </a:r>
            <a:r>
              <a:rPr lang="cs-CZ" dirty="0"/>
              <a:t>), </a:t>
            </a:r>
            <a:r>
              <a:rPr lang="cs-CZ" dirty="0" err="1"/>
              <a:t>Space</a:t>
            </a:r>
            <a:r>
              <a:rPr lang="cs-CZ" dirty="0"/>
              <a:t> (velké sedmimístné SUV ještě nad ENYAQEM) a v neposlední řadě facelift obou verzí modelu ENYAQ.</a:t>
            </a:r>
          </a:p>
          <a:p>
            <a:r>
              <a:rPr lang="cs-CZ" dirty="0"/>
              <a:t>Touto nabídkou budeme schopni pokrýt většinu potřeb firemních flotil. A věříme, a rádi bychom, aby tomu bylo tak i v případě T Mobile resp. </a:t>
            </a:r>
            <a:r>
              <a:rPr lang="cs-CZ" dirty="0" err="1"/>
              <a:t>Slovak</a:t>
            </a:r>
            <a:r>
              <a:rPr lang="cs-CZ" dirty="0"/>
              <a:t> Telecom. 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CD363E-0387-4F03-A368-7EC1FE0C90C6}" type="slidenum">
              <a:rPr lang="cs-CZ" noProof="0" smtClean="0"/>
              <a:pPr/>
              <a:t>3</a:t>
            </a:fld>
            <a:endParaRPr lang="cs-CZ" noProof="0"/>
          </a:p>
        </p:txBody>
      </p:sp>
    </p:spTree>
    <p:extLst>
      <p:ext uri="{BB962C8B-B14F-4D97-AF65-F5344CB8AC3E}">
        <p14:creationId xmlns:p14="http://schemas.microsoft.com/office/powerpoint/2010/main" val="272523528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/>
              <a:t>Na závěr, taková malá úlitba pro odpůrce elektromobility. Škoda bude v následujících letech souběžně vyrábět i vozy se spalovacími motory. </a:t>
            </a:r>
          </a:p>
          <a:p>
            <a:r>
              <a:rPr lang="cs-CZ" dirty="0"/>
              <a:t>V letošním roce uvedeme na trh facelift </a:t>
            </a:r>
            <a:r>
              <a:rPr lang="cs-CZ" dirty="0" err="1"/>
              <a:t>Kamiq</a:t>
            </a:r>
            <a:r>
              <a:rPr lang="cs-CZ" dirty="0"/>
              <a:t> a </a:t>
            </a:r>
            <a:r>
              <a:rPr lang="cs-CZ" dirty="0" err="1"/>
              <a:t>Scala</a:t>
            </a:r>
            <a:r>
              <a:rPr lang="cs-CZ" dirty="0"/>
              <a:t>, na přelomu 2023/2024 nové generace Superbu a </a:t>
            </a:r>
            <a:r>
              <a:rPr lang="cs-CZ" dirty="0" err="1"/>
              <a:t>Kodiaqu</a:t>
            </a:r>
            <a:r>
              <a:rPr lang="cs-CZ" dirty="0"/>
              <a:t>. A v příštím roce nás čeká facelift Octavie.  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CD363E-0387-4F03-A368-7EC1FE0C90C6}" type="slidenum">
              <a:rPr lang="cs-CZ" noProof="0" smtClean="0"/>
              <a:pPr/>
              <a:t>4</a:t>
            </a:fld>
            <a:endParaRPr lang="cs-CZ" noProof="0"/>
          </a:p>
        </p:txBody>
      </p:sp>
    </p:spTree>
    <p:extLst>
      <p:ext uri="{BB962C8B-B14F-4D97-AF65-F5344CB8AC3E}">
        <p14:creationId xmlns:p14="http://schemas.microsoft.com/office/powerpoint/2010/main" val="11347011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cs-CZ" baseline="0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3CA9F9-975E-4169-A428-8635AD9866F6}" type="slidenum">
              <a:rPr lang="cs-CZ" smtClean="0"/>
              <a:t>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6609821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CD363E-0387-4F03-A368-7EC1FE0C90C6}" type="slidenum">
              <a:rPr lang="cs-CZ" noProof="0" smtClean="0"/>
              <a:pPr/>
              <a:t>11</a:t>
            </a:fld>
            <a:endParaRPr lang="cs-CZ" noProof="0"/>
          </a:p>
        </p:txBody>
      </p:sp>
    </p:spTree>
    <p:extLst>
      <p:ext uri="{BB962C8B-B14F-4D97-AF65-F5344CB8AC3E}">
        <p14:creationId xmlns:p14="http://schemas.microsoft.com/office/powerpoint/2010/main" val="183538222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lvl="0" indent="-171450">
              <a:buFont typeface="Arial" panose="020B0604020202020204" pitchFamily="34" charset="0"/>
              <a:buChar char="•"/>
            </a:pPr>
            <a:endParaRPr lang="cs-CZ" sz="105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C936486-6481-4517-93D6-377984602E0D}" type="slidenum">
              <a:rPr lang="ru-RU" smtClean="0"/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875314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5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3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5.png"/><Relationship Id="rId4" Type="http://schemas.openxmlformats.org/officeDocument/2006/relationships/image" Target="../media/image13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7" Type="http://schemas.openxmlformats.org/officeDocument/2006/relationships/image" Target="../media/image5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0.bin"/><Relationship Id="rId4" Type="http://schemas.openxmlformats.org/officeDocument/2006/relationships/image" Target="../media/image2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7" Type="http://schemas.openxmlformats.org/officeDocument/2006/relationships/image" Target="../media/image3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image" Target="../media/image3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image" Target="../media/image3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image" Target="../media/image3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4.bin"/><Relationship Id="rId4" Type="http://schemas.openxmlformats.org/officeDocument/2006/relationships/image" Target="../media/image22.sv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image" Target="../media/image3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image" Target="../media/image3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39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5.svg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microsoft.com/office/2007/relationships/hdphoto" Target="../media/hdphoto3.wdp"/><Relationship Id="rId7" Type="http://schemas.microsoft.com/office/2007/relationships/hdphoto" Target="../media/hdphoto2.wdp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4.png"/><Relationship Id="rId5" Type="http://schemas.microsoft.com/office/2007/relationships/hdphoto" Target="../media/hdphoto1.wdp"/><Relationship Id="rId4" Type="http://schemas.openxmlformats.org/officeDocument/2006/relationships/image" Target="../media/image23.png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9.svg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9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8.bin"/><Relationship Id="rId4" Type="http://schemas.openxmlformats.org/officeDocument/2006/relationships/image" Target="../media/image5.sv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7" Type="http://schemas.openxmlformats.org/officeDocument/2006/relationships/image" Target="../media/image5.sv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0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9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7" Type="http://schemas.openxmlformats.org/officeDocument/2006/relationships/image" Target="../media/image3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1.xml"/><Relationship Id="rId6" Type="http://schemas.openxmlformats.org/officeDocument/2006/relationships/oleObject" Target="../embeddings/oleObject20.bin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2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1.bin"/><Relationship Id="rId4" Type="http://schemas.openxmlformats.org/officeDocument/2006/relationships/image" Target="../media/image5.svg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3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2.bin"/><Relationship Id="rId4" Type="http://schemas.openxmlformats.org/officeDocument/2006/relationships/image" Target="../media/image9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.bin"/><Relationship Id="rId4" Type="http://schemas.openxmlformats.org/officeDocument/2006/relationships/image" Target="../media/image5.svg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4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3.bin"/><Relationship Id="rId4" Type="http://schemas.openxmlformats.org/officeDocument/2006/relationships/image" Target="../media/image5.svg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5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4.bin"/><Relationship Id="rId4" Type="http://schemas.openxmlformats.org/officeDocument/2006/relationships/image" Target="../media/image5.svg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2.svg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3.png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5.png"/><Relationship Id="rId4" Type="http://schemas.openxmlformats.org/officeDocument/2006/relationships/image" Target="../media/image13.png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8.bin"/><Relationship Id="rId4" Type="http://schemas.openxmlformats.org/officeDocument/2006/relationships/image" Target="../media/image5.svg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BFF7A7E-2F88-BCC5-C055-008483D90682}"/>
              </a:ext>
            </a:extLst>
          </p:cNvPr>
          <p:cNvSpPr/>
          <p:nvPr userDrawn="1"/>
        </p:nvSpPr>
        <p:spPr>
          <a:xfrm>
            <a:off x="0" y="0"/>
            <a:ext cx="5220000" cy="1404000"/>
          </a:xfrm>
          <a:custGeom>
            <a:avLst/>
            <a:gdLst>
              <a:gd name="connsiteX0" fmla="*/ 0 w 5220000"/>
              <a:gd name="connsiteY0" fmla="*/ 0 h 1404000"/>
              <a:gd name="connsiteX1" fmla="*/ 5220000 w 5220000"/>
              <a:gd name="connsiteY1" fmla="*/ 0 h 1404000"/>
              <a:gd name="connsiteX2" fmla="*/ 5220000 w 5220000"/>
              <a:gd name="connsiteY2" fmla="*/ 1404000 h 1404000"/>
              <a:gd name="connsiteX3" fmla="*/ 0 w 5220000"/>
              <a:gd name="connsiteY3" fmla="*/ 1404000 h 1404000"/>
              <a:gd name="connsiteX4" fmla="*/ 0 w 5220000"/>
              <a:gd name="connsiteY4" fmla="*/ 0 h 1404000"/>
              <a:gd name="connsiteX0" fmla="*/ 0 w 5220000"/>
              <a:gd name="connsiteY0" fmla="*/ 0 h 1404000"/>
              <a:gd name="connsiteX1" fmla="*/ 5220000 w 5220000"/>
              <a:gd name="connsiteY1" fmla="*/ 0 h 1404000"/>
              <a:gd name="connsiteX2" fmla="*/ 5220000 w 5220000"/>
              <a:gd name="connsiteY2" fmla="*/ 1404000 h 1404000"/>
              <a:gd name="connsiteX3" fmla="*/ 0 w 5220000"/>
              <a:gd name="connsiteY3" fmla="*/ 1404000 h 1404000"/>
              <a:gd name="connsiteX4" fmla="*/ 0 w 5220000"/>
              <a:gd name="connsiteY4" fmla="*/ 0 h 1404000"/>
              <a:gd name="connsiteX0" fmla="*/ 0 w 5220000"/>
              <a:gd name="connsiteY0" fmla="*/ 0 h 1404000"/>
              <a:gd name="connsiteX1" fmla="*/ 5220000 w 5220000"/>
              <a:gd name="connsiteY1" fmla="*/ 0 h 1404000"/>
              <a:gd name="connsiteX2" fmla="*/ 0 w 5220000"/>
              <a:gd name="connsiteY2" fmla="*/ 1404000 h 1404000"/>
              <a:gd name="connsiteX3" fmla="*/ 0 w 5220000"/>
              <a:gd name="connsiteY3" fmla="*/ 0 h 140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20000" h="1404000">
                <a:moveTo>
                  <a:pt x="0" y="0"/>
                </a:moveTo>
                <a:lnTo>
                  <a:pt x="5220000" y="0"/>
                </a:lnTo>
                <a:lnTo>
                  <a:pt x="0" y="1404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noProof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CBDC93D-8677-8F98-0413-5586CAD9ECEE}"/>
              </a:ext>
            </a:extLst>
          </p:cNvPr>
          <p:cNvSpPr/>
          <p:nvPr userDrawn="1"/>
        </p:nvSpPr>
        <p:spPr>
          <a:xfrm>
            <a:off x="8136000" y="0"/>
            <a:ext cx="2556000" cy="6011863"/>
          </a:xfrm>
          <a:custGeom>
            <a:avLst/>
            <a:gdLst>
              <a:gd name="connsiteX0" fmla="*/ 0 w 2556000"/>
              <a:gd name="connsiteY0" fmla="*/ 0 h 6011863"/>
              <a:gd name="connsiteX1" fmla="*/ 2556000 w 2556000"/>
              <a:gd name="connsiteY1" fmla="*/ 0 h 6011863"/>
              <a:gd name="connsiteX2" fmla="*/ 2556000 w 2556000"/>
              <a:gd name="connsiteY2" fmla="*/ 6011863 h 6011863"/>
              <a:gd name="connsiteX3" fmla="*/ 0 w 2556000"/>
              <a:gd name="connsiteY3" fmla="*/ 6011863 h 6011863"/>
              <a:gd name="connsiteX4" fmla="*/ 0 w 2556000"/>
              <a:gd name="connsiteY4" fmla="*/ 0 h 6011863"/>
              <a:gd name="connsiteX0" fmla="*/ 1600200 w 2556000"/>
              <a:gd name="connsiteY0" fmla="*/ 0 h 6011863"/>
              <a:gd name="connsiteX1" fmla="*/ 2556000 w 2556000"/>
              <a:gd name="connsiteY1" fmla="*/ 0 h 6011863"/>
              <a:gd name="connsiteX2" fmla="*/ 2556000 w 2556000"/>
              <a:gd name="connsiteY2" fmla="*/ 6011863 h 6011863"/>
              <a:gd name="connsiteX3" fmla="*/ 0 w 2556000"/>
              <a:gd name="connsiteY3" fmla="*/ 6011863 h 6011863"/>
              <a:gd name="connsiteX4" fmla="*/ 1600200 w 2556000"/>
              <a:gd name="connsiteY4" fmla="*/ 0 h 6011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56000" h="6011863">
                <a:moveTo>
                  <a:pt x="1600200" y="0"/>
                </a:moveTo>
                <a:lnTo>
                  <a:pt x="2556000" y="0"/>
                </a:lnTo>
                <a:lnTo>
                  <a:pt x="2556000" y="6011863"/>
                </a:lnTo>
                <a:lnTo>
                  <a:pt x="0" y="6011863"/>
                </a:lnTo>
                <a:lnTo>
                  <a:pt x="1600200" y="0"/>
                </a:lnTo>
                <a:close/>
              </a:path>
            </a:pathLst>
          </a:cu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noProof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621EEB25-02FD-89D3-1BD1-8F48F076C97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571122" y="5556311"/>
            <a:ext cx="1671428" cy="180000"/>
          </a:xfrm>
          <a:prstGeom prst="rect">
            <a:avLst/>
          </a:prstGeom>
        </p:spPr>
      </p:pic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264"/>
          <a:ext cx="1587" cy="12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9" imgH="398" progId="TCLayout.ActiveDocument.1">
                  <p:embed/>
                </p:oleObj>
              </mc:Choice>
              <mc:Fallback>
                <p:oleObj name="think-cell Slide" r:id="rId5" imgW="399" imgH="39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264"/>
                        <a:ext cx="1587" cy="12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 userDrawn="1">
            <p:ph type="title" hasCustomPrompt="1"/>
          </p:nvPr>
        </p:nvSpPr>
        <p:spPr>
          <a:xfrm>
            <a:off x="449263" y="1314450"/>
            <a:ext cx="7686550" cy="4032250"/>
          </a:xfrm>
        </p:spPr>
        <p:txBody>
          <a:bodyPr anchor="b" anchorCtr="0">
            <a:noAutofit/>
          </a:bodyPr>
          <a:lstStyle>
            <a:lvl1pPr>
              <a:lnSpc>
                <a:spcPts val="6000"/>
              </a:lnSpc>
              <a:defRPr sz="6000" b="0" cap="none" baseline="0">
                <a:solidFill>
                  <a:schemeClr val="accent1"/>
                </a:solidFill>
                <a:latin typeface="SKODA Next Light" panose="020B0304020603020204" pitchFamily="34" charset="0"/>
              </a:defRPr>
            </a:lvl1pPr>
          </a:lstStyle>
          <a:p>
            <a:r>
              <a:rPr lang="cs-CZ" noProof="0"/>
              <a:t>Název</a:t>
            </a:r>
            <a:br>
              <a:rPr lang="cs-CZ" noProof="0"/>
            </a:br>
            <a:r>
              <a:rPr lang="cs-CZ" noProof="0"/>
              <a:t>prezentace</a:t>
            </a:r>
          </a:p>
        </p:txBody>
      </p:sp>
      <p:sp>
        <p:nvSpPr>
          <p:cNvPr id="16" name="Zástupný symbol pro číslo snímku 5"/>
          <p:cNvSpPr>
            <a:spLocks noGrp="1"/>
          </p:cNvSpPr>
          <p:nvPr userDrawn="1">
            <p:ph type="sldNum" sz="quarter" idx="10"/>
          </p:nvPr>
        </p:nvSpPr>
        <p:spPr>
          <a:xfrm>
            <a:off x="449263" y="5776670"/>
            <a:ext cx="269960" cy="180000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22" name="Zástupný symbol pro zápatí 6"/>
          <p:cNvSpPr>
            <a:spLocks noGrp="1"/>
          </p:cNvSpPr>
          <p:nvPr userDrawn="1">
            <p:ph type="ftr" sz="quarter" idx="11"/>
          </p:nvPr>
        </p:nvSpPr>
        <p:spPr>
          <a:xfrm>
            <a:off x="449262" y="5598000"/>
            <a:ext cx="7686737" cy="180000"/>
          </a:xfrm>
          <a:noFill/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1200" b="0" smtClean="0">
                <a:solidFill>
                  <a:schemeClr val="accent1"/>
                </a:solidFill>
                <a:effectLst/>
                <a:latin typeface="SKODA Next Light" panose="020B0304020603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noProof="0"/>
              <a:t>S15 | 08.06.2023 | Future city tech | VTO | Miroslav Holan</a:t>
            </a:r>
            <a:endParaRPr lang="cs-CZ" noProof="0"/>
          </a:p>
        </p:txBody>
      </p:sp>
    </p:spTree>
    <p:extLst>
      <p:ext uri="{BB962C8B-B14F-4D97-AF65-F5344CB8AC3E}">
        <p14:creationId xmlns:p14="http://schemas.microsoft.com/office/powerpoint/2010/main" val="8146547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sets Mobi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2BC73856-9920-FB4D-1FA1-5AD01A9B1773}"/>
              </a:ext>
            </a:extLst>
          </p:cNvPr>
          <p:cNvSpPr/>
          <p:nvPr userDrawn="1"/>
        </p:nvSpPr>
        <p:spPr>
          <a:xfrm>
            <a:off x="4111557" y="0"/>
            <a:ext cx="6580443" cy="6011863"/>
          </a:xfrm>
          <a:custGeom>
            <a:avLst/>
            <a:gdLst>
              <a:gd name="connsiteX0" fmla="*/ 0 w 6840000"/>
              <a:gd name="connsiteY0" fmla="*/ 0 h 6011863"/>
              <a:gd name="connsiteX1" fmla="*/ 6840000 w 6840000"/>
              <a:gd name="connsiteY1" fmla="*/ 0 h 6011863"/>
              <a:gd name="connsiteX2" fmla="*/ 6840000 w 6840000"/>
              <a:gd name="connsiteY2" fmla="*/ 6011863 h 6011863"/>
              <a:gd name="connsiteX3" fmla="*/ 0 w 6840000"/>
              <a:gd name="connsiteY3" fmla="*/ 6011863 h 6011863"/>
              <a:gd name="connsiteX4" fmla="*/ 0 w 6840000"/>
              <a:gd name="connsiteY4" fmla="*/ 0 h 6011863"/>
              <a:gd name="connsiteX0" fmla="*/ 1602582 w 6840000"/>
              <a:gd name="connsiteY0" fmla="*/ 0 h 6011863"/>
              <a:gd name="connsiteX1" fmla="*/ 6840000 w 6840000"/>
              <a:gd name="connsiteY1" fmla="*/ 0 h 6011863"/>
              <a:gd name="connsiteX2" fmla="*/ 6840000 w 6840000"/>
              <a:gd name="connsiteY2" fmla="*/ 6011863 h 6011863"/>
              <a:gd name="connsiteX3" fmla="*/ 0 w 6840000"/>
              <a:gd name="connsiteY3" fmla="*/ 6011863 h 6011863"/>
              <a:gd name="connsiteX4" fmla="*/ 1602582 w 6840000"/>
              <a:gd name="connsiteY4" fmla="*/ 0 h 6011863"/>
              <a:gd name="connsiteX0" fmla="*/ 1869282 w 6840000"/>
              <a:gd name="connsiteY0" fmla="*/ 0 h 6011863"/>
              <a:gd name="connsiteX1" fmla="*/ 6840000 w 6840000"/>
              <a:gd name="connsiteY1" fmla="*/ 0 h 6011863"/>
              <a:gd name="connsiteX2" fmla="*/ 6840000 w 6840000"/>
              <a:gd name="connsiteY2" fmla="*/ 6011863 h 6011863"/>
              <a:gd name="connsiteX3" fmla="*/ 0 w 6840000"/>
              <a:gd name="connsiteY3" fmla="*/ 6011863 h 6011863"/>
              <a:gd name="connsiteX4" fmla="*/ 1869282 w 6840000"/>
              <a:gd name="connsiteY4" fmla="*/ 0 h 6011863"/>
              <a:gd name="connsiteX0" fmla="*/ 1609725 w 6580443"/>
              <a:gd name="connsiteY0" fmla="*/ 0 h 6011863"/>
              <a:gd name="connsiteX1" fmla="*/ 6580443 w 6580443"/>
              <a:gd name="connsiteY1" fmla="*/ 0 h 6011863"/>
              <a:gd name="connsiteX2" fmla="*/ 6580443 w 6580443"/>
              <a:gd name="connsiteY2" fmla="*/ 6011863 h 6011863"/>
              <a:gd name="connsiteX3" fmla="*/ 0 w 6580443"/>
              <a:gd name="connsiteY3" fmla="*/ 6011863 h 6011863"/>
              <a:gd name="connsiteX4" fmla="*/ 1609725 w 6580443"/>
              <a:gd name="connsiteY4" fmla="*/ 0 h 6011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80443" h="6011863">
                <a:moveTo>
                  <a:pt x="1609725" y="0"/>
                </a:moveTo>
                <a:lnTo>
                  <a:pt x="6580443" y="0"/>
                </a:lnTo>
                <a:lnTo>
                  <a:pt x="6580443" y="6011863"/>
                </a:lnTo>
                <a:lnTo>
                  <a:pt x="0" y="6011863"/>
                </a:lnTo>
                <a:lnTo>
                  <a:pt x="1609725" y="0"/>
                </a:lnTo>
                <a:close/>
              </a:path>
            </a:pathLst>
          </a:cu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noProof="0"/>
          </a:p>
        </p:txBody>
      </p:sp>
      <p:pic>
        <p:nvPicPr>
          <p:cNvPr id="2" name="Picture 1" descr="A black smartphone with a green screen&#10;&#10;Description automatically generated with low confidence">
            <a:extLst>
              <a:ext uri="{FF2B5EF4-FFF2-40B4-BE49-F238E27FC236}">
                <a16:creationId xmlns:a16="http://schemas.microsoft.com/office/drawing/2014/main" id="{FB079381-B007-27B5-FF2B-BD7E2735274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7942" y="873342"/>
            <a:ext cx="2261882" cy="4380510"/>
          </a:xfrm>
          <a:prstGeom prst="rect">
            <a:avLst/>
          </a:prstGeom>
        </p:spPr>
      </p:pic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en-US" noProof="0"/>
              <a:t>S15 | 08.06.2023 | Future city tech | VTO | Miroslav Holan</a:t>
            </a:r>
            <a:endParaRPr lang="cs-CZ" noProof="0"/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4" y="648000"/>
            <a:ext cx="4680000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/>
              <a:t>Podnadpis</a:t>
            </a:r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>
          <a:xfrm>
            <a:off x="449264" y="269875"/>
            <a:ext cx="4680000" cy="360000"/>
          </a:xfrm>
        </p:spPr>
        <p:txBody>
          <a:bodyPr/>
          <a:lstStyle>
            <a:lvl1pPr>
              <a:defRPr/>
            </a:lvl1pPr>
          </a:lstStyle>
          <a:p>
            <a:r>
              <a:rPr lang="cs-CZ" noProof="0"/>
              <a:t>Nadpis (shrnutí stránky)</a:t>
            </a:r>
          </a:p>
        </p:txBody>
      </p:sp>
      <p:sp>
        <p:nvSpPr>
          <p:cNvPr id="5" name="Zástupný symbol pro obsah 2">
            <a:extLst>
              <a:ext uri="{FF2B5EF4-FFF2-40B4-BE49-F238E27FC236}">
                <a16:creationId xmlns:a16="http://schemas.microsoft.com/office/drawing/2014/main" id="{3471EC78-B29A-0B43-3BBF-4728093475C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49264" y="1314450"/>
            <a:ext cx="3456000" cy="4032250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  <a:lvl6pPr marL="900000" indent="0">
              <a:buNone/>
              <a:defRPr/>
            </a:lvl6pPr>
          </a:lstStyle>
          <a:p>
            <a:pPr lvl="0"/>
            <a:r>
              <a:rPr lang="cs-CZ" noProof="0"/>
              <a:t>První úroveň</a:t>
            </a:r>
          </a:p>
          <a:p>
            <a:pPr lvl="1"/>
            <a:r>
              <a:rPr lang="cs-CZ" noProof="0"/>
              <a:t>Druhá úroveň</a:t>
            </a:r>
          </a:p>
          <a:p>
            <a:pPr lvl="2"/>
            <a:r>
              <a:rPr lang="cs-CZ" noProof="0"/>
              <a:t>Třetí úroveň</a:t>
            </a:r>
          </a:p>
          <a:p>
            <a:pPr lvl="3"/>
            <a:r>
              <a:rPr lang="cs-CZ" noProof="0"/>
              <a:t>Čtvrtá úroveň</a:t>
            </a:r>
          </a:p>
          <a:p>
            <a:pPr lvl="4"/>
            <a:r>
              <a:rPr lang="cs-CZ" noProof="0"/>
              <a:t>Pátá úroveň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3218803C-0D0E-BA73-E8EB-53888552656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39693" y="5660476"/>
            <a:ext cx="1002857" cy="108000"/>
          </a:xfrm>
          <a:prstGeom prst="rect">
            <a:avLst/>
          </a:prstGeom>
        </p:spPr>
      </p:pic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804DA798-6702-22E7-2B26-4A61B09ABC95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993683" y="981810"/>
            <a:ext cx="1854048" cy="4031251"/>
          </a:xfrm>
          <a:custGeom>
            <a:avLst/>
            <a:gdLst>
              <a:gd name="connsiteX0" fmla="*/ 163971 w 1854048"/>
              <a:gd name="connsiteY0" fmla="*/ 0 h 4031251"/>
              <a:gd name="connsiteX1" fmla="*/ 364469 w 1854048"/>
              <a:gd name="connsiteY1" fmla="*/ 0 h 4031251"/>
              <a:gd name="connsiteX2" fmla="*/ 393066 w 1854048"/>
              <a:gd name="connsiteY2" fmla="*/ 4326 h 4031251"/>
              <a:gd name="connsiteX3" fmla="*/ 414386 w 1854048"/>
              <a:gd name="connsiteY3" fmla="*/ 44511 h 4031251"/>
              <a:gd name="connsiteX4" fmla="*/ 445343 w 1854048"/>
              <a:gd name="connsiteY4" fmla="*/ 125472 h 4031251"/>
              <a:gd name="connsiteX5" fmla="*/ 535829 w 1854048"/>
              <a:gd name="connsiteY5" fmla="*/ 151666 h 4031251"/>
              <a:gd name="connsiteX6" fmla="*/ 1324023 w 1854048"/>
              <a:gd name="connsiteY6" fmla="*/ 154048 h 4031251"/>
              <a:gd name="connsiteX7" fmla="*/ 1412130 w 1854048"/>
              <a:gd name="connsiteY7" fmla="*/ 115948 h 4031251"/>
              <a:gd name="connsiteX8" fmla="*/ 1438324 w 1854048"/>
              <a:gd name="connsiteY8" fmla="*/ 56417 h 4031251"/>
              <a:gd name="connsiteX9" fmla="*/ 1495473 w 1854048"/>
              <a:gd name="connsiteY9" fmla="*/ 4028 h 4031251"/>
              <a:gd name="connsiteX10" fmla="*/ 1671684 w 1854048"/>
              <a:gd name="connsiteY10" fmla="*/ 6410 h 4031251"/>
              <a:gd name="connsiteX11" fmla="*/ 1816942 w 1854048"/>
              <a:gd name="connsiteY11" fmla="*/ 82610 h 4031251"/>
              <a:gd name="connsiteX12" fmla="*/ 1852103 w 1854048"/>
              <a:gd name="connsiteY12" fmla="*/ 175925 h 4031251"/>
              <a:gd name="connsiteX13" fmla="*/ 1854048 w 1854048"/>
              <a:gd name="connsiteY13" fmla="*/ 210300 h 4031251"/>
              <a:gd name="connsiteX14" fmla="*/ 1854048 w 1854048"/>
              <a:gd name="connsiteY14" fmla="*/ 3846889 h 4031251"/>
              <a:gd name="connsiteX15" fmla="*/ 1845815 w 1854048"/>
              <a:gd name="connsiteY15" fmla="*/ 3894099 h 4031251"/>
              <a:gd name="connsiteX16" fmla="*/ 1807418 w 1854048"/>
              <a:gd name="connsiteY16" fmla="*/ 3964048 h 4031251"/>
              <a:gd name="connsiteX17" fmla="*/ 1595486 w 1854048"/>
              <a:gd name="connsiteY17" fmla="*/ 4030722 h 4031251"/>
              <a:gd name="connsiteX18" fmla="*/ 245316 w 1854048"/>
              <a:gd name="connsiteY18" fmla="*/ 4030723 h 4031251"/>
              <a:gd name="connsiteX19" fmla="*/ 50055 w 1854048"/>
              <a:gd name="connsiteY19" fmla="*/ 3966430 h 4031251"/>
              <a:gd name="connsiteX20" fmla="*/ 48 w 1854048"/>
              <a:gd name="connsiteY20" fmla="*/ 3785454 h 4031251"/>
              <a:gd name="connsiteX21" fmla="*/ 48 w 1854048"/>
              <a:gd name="connsiteY21" fmla="*/ 251679 h 4031251"/>
              <a:gd name="connsiteX22" fmla="*/ 47675 w 1854048"/>
              <a:gd name="connsiteY22" fmla="*/ 61178 h 4031251"/>
              <a:gd name="connsiteX23" fmla="*/ 127930 w 1854048"/>
              <a:gd name="connsiteY23" fmla="*/ 9555 h 40312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854048" h="4031251">
                <a:moveTo>
                  <a:pt x="163971" y="0"/>
                </a:moveTo>
                <a:lnTo>
                  <a:pt x="364469" y="0"/>
                </a:lnTo>
                <a:lnTo>
                  <a:pt x="393066" y="4326"/>
                </a:lnTo>
                <a:cubicBezTo>
                  <a:pt x="415576" y="11024"/>
                  <a:pt x="409624" y="23080"/>
                  <a:pt x="414386" y="44511"/>
                </a:cubicBezTo>
                <a:cubicBezTo>
                  <a:pt x="418754" y="87374"/>
                  <a:pt x="425102" y="98088"/>
                  <a:pt x="445343" y="125472"/>
                </a:cubicBezTo>
                <a:cubicBezTo>
                  <a:pt x="465584" y="152856"/>
                  <a:pt x="485823" y="152063"/>
                  <a:pt x="535829" y="151666"/>
                </a:cubicBezTo>
                <a:lnTo>
                  <a:pt x="1324023" y="154048"/>
                </a:lnTo>
                <a:cubicBezTo>
                  <a:pt x="1376411" y="150873"/>
                  <a:pt x="1390699" y="132220"/>
                  <a:pt x="1412130" y="115948"/>
                </a:cubicBezTo>
                <a:cubicBezTo>
                  <a:pt x="1433561" y="99676"/>
                  <a:pt x="1436340" y="77451"/>
                  <a:pt x="1438324" y="56417"/>
                </a:cubicBezTo>
                <a:cubicBezTo>
                  <a:pt x="1440308" y="35383"/>
                  <a:pt x="1429592" y="1647"/>
                  <a:pt x="1495473" y="4028"/>
                </a:cubicBezTo>
                <a:cubicBezTo>
                  <a:pt x="1556592" y="4028"/>
                  <a:pt x="1603818" y="5219"/>
                  <a:pt x="1671684" y="6410"/>
                </a:cubicBezTo>
                <a:cubicBezTo>
                  <a:pt x="1739550" y="7601"/>
                  <a:pt x="1789955" y="46495"/>
                  <a:pt x="1816942" y="82610"/>
                </a:cubicBezTo>
                <a:cubicBezTo>
                  <a:pt x="1833015" y="107018"/>
                  <a:pt x="1846410" y="131426"/>
                  <a:pt x="1852103" y="175925"/>
                </a:cubicBezTo>
                <a:lnTo>
                  <a:pt x="1854048" y="210300"/>
                </a:lnTo>
                <a:lnTo>
                  <a:pt x="1854048" y="3846889"/>
                </a:lnTo>
                <a:lnTo>
                  <a:pt x="1845815" y="3894099"/>
                </a:lnTo>
                <a:cubicBezTo>
                  <a:pt x="1836787" y="3926147"/>
                  <a:pt x="1823293" y="3947379"/>
                  <a:pt x="1807418" y="3964048"/>
                </a:cubicBezTo>
                <a:cubicBezTo>
                  <a:pt x="1775668" y="3997386"/>
                  <a:pt x="1715342" y="4031517"/>
                  <a:pt x="1595486" y="4030722"/>
                </a:cubicBezTo>
                <a:cubicBezTo>
                  <a:pt x="1145429" y="4030722"/>
                  <a:pt x="355250" y="4031912"/>
                  <a:pt x="245316" y="4030723"/>
                </a:cubicBezTo>
                <a:cubicBezTo>
                  <a:pt x="135382" y="4029534"/>
                  <a:pt x="90933" y="4007308"/>
                  <a:pt x="50055" y="3966430"/>
                </a:cubicBezTo>
                <a:cubicBezTo>
                  <a:pt x="9177" y="3925552"/>
                  <a:pt x="1635" y="3884276"/>
                  <a:pt x="48" y="3785454"/>
                </a:cubicBezTo>
                <a:lnTo>
                  <a:pt x="48" y="251679"/>
                </a:lnTo>
                <a:cubicBezTo>
                  <a:pt x="-1143" y="128646"/>
                  <a:pt x="19894" y="96103"/>
                  <a:pt x="47675" y="61178"/>
                </a:cubicBezTo>
                <a:cubicBezTo>
                  <a:pt x="68511" y="34984"/>
                  <a:pt x="92918" y="20623"/>
                  <a:pt x="127930" y="9555"/>
                </a:cubicBezTo>
                <a:close/>
              </a:path>
            </a:pathLst>
          </a:custGeom>
          <a:ln w="3175">
            <a:noFill/>
          </a:ln>
        </p:spPr>
        <p:txBody>
          <a:bodyPr wrap="square" tIns="180000" rIns="0">
            <a:noAutofit/>
          </a:bodyPr>
          <a:lstStyle>
            <a:lvl1pPr algn="ctr">
              <a:spcBef>
                <a:spcPts val="0"/>
              </a:spcBef>
              <a:buFontTx/>
              <a:buNone/>
              <a:defRPr>
                <a:solidFill>
                  <a:schemeClr val="accent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Obr</a:t>
            </a:r>
          </a:p>
        </p:txBody>
      </p:sp>
    </p:spTree>
    <p:extLst>
      <p:ext uri="{BB962C8B-B14F-4D97-AF65-F5344CB8AC3E}">
        <p14:creationId xmlns:p14="http://schemas.microsoft.com/office/powerpoint/2010/main" val="25380042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sets NT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2BC73856-9920-FB4D-1FA1-5AD01A9B1773}"/>
              </a:ext>
            </a:extLst>
          </p:cNvPr>
          <p:cNvSpPr/>
          <p:nvPr userDrawn="1"/>
        </p:nvSpPr>
        <p:spPr>
          <a:xfrm>
            <a:off x="3852000" y="0"/>
            <a:ext cx="6840000" cy="6011863"/>
          </a:xfrm>
          <a:custGeom>
            <a:avLst/>
            <a:gdLst>
              <a:gd name="connsiteX0" fmla="*/ 0 w 6840000"/>
              <a:gd name="connsiteY0" fmla="*/ 0 h 6011863"/>
              <a:gd name="connsiteX1" fmla="*/ 6840000 w 6840000"/>
              <a:gd name="connsiteY1" fmla="*/ 0 h 6011863"/>
              <a:gd name="connsiteX2" fmla="*/ 6840000 w 6840000"/>
              <a:gd name="connsiteY2" fmla="*/ 6011863 h 6011863"/>
              <a:gd name="connsiteX3" fmla="*/ 0 w 6840000"/>
              <a:gd name="connsiteY3" fmla="*/ 6011863 h 6011863"/>
              <a:gd name="connsiteX4" fmla="*/ 0 w 6840000"/>
              <a:gd name="connsiteY4" fmla="*/ 0 h 6011863"/>
              <a:gd name="connsiteX0" fmla="*/ 1602582 w 6840000"/>
              <a:gd name="connsiteY0" fmla="*/ 0 h 6011863"/>
              <a:gd name="connsiteX1" fmla="*/ 6840000 w 6840000"/>
              <a:gd name="connsiteY1" fmla="*/ 0 h 6011863"/>
              <a:gd name="connsiteX2" fmla="*/ 6840000 w 6840000"/>
              <a:gd name="connsiteY2" fmla="*/ 6011863 h 6011863"/>
              <a:gd name="connsiteX3" fmla="*/ 0 w 6840000"/>
              <a:gd name="connsiteY3" fmla="*/ 6011863 h 6011863"/>
              <a:gd name="connsiteX4" fmla="*/ 1602582 w 6840000"/>
              <a:gd name="connsiteY4" fmla="*/ 0 h 6011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40000" h="6011863">
                <a:moveTo>
                  <a:pt x="1602582" y="0"/>
                </a:moveTo>
                <a:lnTo>
                  <a:pt x="6840000" y="0"/>
                </a:lnTo>
                <a:lnTo>
                  <a:pt x="6840000" y="6011863"/>
                </a:lnTo>
                <a:lnTo>
                  <a:pt x="0" y="6011863"/>
                </a:lnTo>
                <a:lnTo>
                  <a:pt x="1602582" y="0"/>
                </a:lnTo>
                <a:close/>
              </a:path>
            </a:pathLst>
          </a:cu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noProof="0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en-US" noProof="0"/>
              <a:t>S15 | 08.06.2023 | Future city tech | VTO | Miroslav Holan</a:t>
            </a:r>
            <a:endParaRPr lang="cs-CZ" noProof="0"/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4" y="648000"/>
            <a:ext cx="4680000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/>
              <a:t>Podnadpis</a:t>
            </a:r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>
          <a:xfrm>
            <a:off x="449264" y="269875"/>
            <a:ext cx="4680000" cy="360000"/>
          </a:xfrm>
        </p:spPr>
        <p:txBody>
          <a:bodyPr/>
          <a:lstStyle>
            <a:lvl1pPr>
              <a:defRPr/>
            </a:lvl1pPr>
          </a:lstStyle>
          <a:p>
            <a:r>
              <a:rPr lang="cs-CZ" noProof="0"/>
              <a:t>Nadpis (shrnutí stránky)</a:t>
            </a:r>
          </a:p>
        </p:txBody>
      </p:sp>
      <p:sp>
        <p:nvSpPr>
          <p:cNvPr id="5" name="Zástupný symbol pro obsah 2">
            <a:extLst>
              <a:ext uri="{FF2B5EF4-FFF2-40B4-BE49-F238E27FC236}">
                <a16:creationId xmlns:a16="http://schemas.microsoft.com/office/drawing/2014/main" id="{3471EC78-B29A-0B43-3BBF-4728093475C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49264" y="1314450"/>
            <a:ext cx="3456000" cy="4032250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/>
              <a:t>První úroveň</a:t>
            </a:r>
          </a:p>
          <a:p>
            <a:pPr lvl="1"/>
            <a:r>
              <a:rPr lang="cs-CZ" noProof="0"/>
              <a:t>Druhá úroveň</a:t>
            </a:r>
          </a:p>
          <a:p>
            <a:pPr lvl="2"/>
            <a:r>
              <a:rPr lang="cs-CZ" noProof="0"/>
              <a:t>Třetí úroveň</a:t>
            </a:r>
          </a:p>
          <a:p>
            <a:pPr lvl="3"/>
            <a:r>
              <a:rPr lang="cs-CZ" noProof="0"/>
              <a:t>Čtvrtá úroveň</a:t>
            </a:r>
          </a:p>
          <a:p>
            <a:pPr lvl="4"/>
            <a:r>
              <a:rPr lang="cs-CZ" noProof="0"/>
              <a:t>Pátá úroveň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3218803C-0D0E-BA73-E8EB-53888552656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39693" y="5660476"/>
            <a:ext cx="1002857" cy="108000"/>
          </a:xfrm>
          <a:prstGeom prst="rect">
            <a:avLst/>
          </a:prstGeom>
        </p:spPr>
      </p:pic>
      <p:pic>
        <p:nvPicPr>
          <p:cNvPr id="16" name="Picture 15" descr="Picture placeholder on NTB">
            <a:extLst>
              <a:ext uri="{FF2B5EF4-FFF2-40B4-BE49-F238E27FC236}">
                <a16:creationId xmlns:a16="http://schemas.microsoft.com/office/drawing/2014/main" id="{2B27DD95-842A-A815-22D8-793B2D351C7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855" t="11185" r="2782" b="13217"/>
          <a:stretch/>
        </p:blipFill>
        <p:spPr>
          <a:xfrm>
            <a:off x="4781550" y="1277863"/>
            <a:ext cx="5681663" cy="3365576"/>
          </a:xfrm>
          <a:prstGeom prst="rect">
            <a:avLst/>
          </a:prstGeom>
        </p:spPr>
      </p:pic>
      <p:sp>
        <p:nvSpPr>
          <p:cNvPr id="2" name="Zástupný symbol pro obrázek 10">
            <a:extLst>
              <a:ext uri="{FF2B5EF4-FFF2-40B4-BE49-F238E27FC236}">
                <a16:creationId xmlns:a16="http://schemas.microsoft.com/office/drawing/2014/main" id="{87DEAAE3-7548-B252-8D11-D78AD94E54D2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5504180" y="1527175"/>
            <a:ext cx="4248000" cy="2664000"/>
          </a:xfrm>
        </p:spPr>
        <p:txBody>
          <a:bodyPr/>
          <a:lstStyle>
            <a:lvl1pPr algn="ctr">
              <a:buFontTx/>
              <a:buNone/>
              <a:defRPr>
                <a:solidFill>
                  <a:schemeClr val="accent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Obr</a:t>
            </a:r>
          </a:p>
        </p:txBody>
      </p:sp>
    </p:spTree>
    <p:extLst>
      <p:ext uri="{BB962C8B-B14F-4D97-AF65-F5344CB8AC3E}">
        <p14:creationId xmlns:p14="http://schemas.microsoft.com/office/powerpoint/2010/main" val="23877634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sets Screens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Shape, rectangle&#10;&#10;Description automatically generated">
            <a:extLst>
              <a:ext uri="{FF2B5EF4-FFF2-40B4-BE49-F238E27FC236}">
                <a16:creationId xmlns:a16="http://schemas.microsoft.com/office/drawing/2014/main" id="{DF3E1D76-E1FE-85BE-876E-897BF722D4A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050" y="2091613"/>
            <a:ext cx="3744000" cy="2995200"/>
          </a:xfrm>
          <a:prstGeom prst="rect">
            <a:avLst/>
          </a:prstGeom>
          <a:effectLst>
            <a:softEdge rad="31750"/>
          </a:effectLst>
        </p:spPr>
      </p:pic>
      <p:pic>
        <p:nvPicPr>
          <p:cNvPr id="14" name="Picture 13" descr="A black smartphone with a green screen&#10;&#10;Description automatically generated with low confidence">
            <a:extLst>
              <a:ext uri="{FF2B5EF4-FFF2-40B4-BE49-F238E27FC236}">
                <a16:creationId xmlns:a16="http://schemas.microsoft.com/office/drawing/2014/main" id="{BAFCD9A6-230C-5FDE-7021-3001BC6B300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5395" y="1559470"/>
            <a:ext cx="1016799" cy="1969200"/>
          </a:xfrm>
          <a:prstGeom prst="rect">
            <a:avLst/>
          </a:prstGeom>
        </p:spPr>
      </p:pic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6369D4B5-C1C4-FBDE-DE0B-8CEE20ED2F6A}"/>
              </a:ext>
            </a:extLst>
          </p:cNvPr>
          <p:cNvSpPr/>
          <p:nvPr userDrawn="1"/>
        </p:nvSpPr>
        <p:spPr>
          <a:xfrm>
            <a:off x="4057652" y="4531518"/>
            <a:ext cx="417600" cy="50400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noProof="0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7" name="Zástupný symbol pro zápatí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en-US" noProof="0"/>
              <a:t>S15 | 08.06.2023 | Future city tech | VTO | Miroslav Holan</a:t>
            </a:r>
            <a:endParaRPr lang="cs-CZ" noProof="0"/>
          </a:p>
        </p:txBody>
      </p:sp>
      <p:sp>
        <p:nvSpPr>
          <p:cNvPr id="10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648000"/>
            <a:ext cx="9793288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/>
              <a:t>Podnadpis</a:t>
            </a:r>
          </a:p>
        </p:txBody>
      </p:sp>
      <p:sp>
        <p:nvSpPr>
          <p:cNvPr id="3" name="Nadpis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cs-CZ" noProof="0"/>
              <a:t>Nadpis (shrnutí stránky)</a:t>
            </a:r>
          </a:p>
        </p:txBody>
      </p:sp>
      <p:sp>
        <p:nvSpPr>
          <p:cNvPr id="4" name="Picture Placeholder 18">
            <a:extLst>
              <a:ext uri="{FF2B5EF4-FFF2-40B4-BE49-F238E27FC236}">
                <a16:creationId xmlns:a16="http://schemas.microsoft.com/office/drawing/2014/main" id="{3F5D714F-8A7D-5AF6-0CB7-DFB1A6CB1325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912946" y="1610447"/>
            <a:ext cx="832324" cy="1809720"/>
          </a:xfrm>
          <a:custGeom>
            <a:avLst/>
            <a:gdLst>
              <a:gd name="connsiteX0" fmla="*/ 163971 w 1854048"/>
              <a:gd name="connsiteY0" fmla="*/ 0 h 4031251"/>
              <a:gd name="connsiteX1" fmla="*/ 364469 w 1854048"/>
              <a:gd name="connsiteY1" fmla="*/ 0 h 4031251"/>
              <a:gd name="connsiteX2" fmla="*/ 393066 w 1854048"/>
              <a:gd name="connsiteY2" fmla="*/ 4326 h 4031251"/>
              <a:gd name="connsiteX3" fmla="*/ 414386 w 1854048"/>
              <a:gd name="connsiteY3" fmla="*/ 44511 h 4031251"/>
              <a:gd name="connsiteX4" fmla="*/ 445343 w 1854048"/>
              <a:gd name="connsiteY4" fmla="*/ 125472 h 4031251"/>
              <a:gd name="connsiteX5" fmla="*/ 535829 w 1854048"/>
              <a:gd name="connsiteY5" fmla="*/ 151666 h 4031251"/>
              <a:gd name="connsiteX6" fmla="*/ 1324023 w 1854048"/>
              <a:gd name="connsiteY6" fmla="*/ 154048 h 4031251"/>
              <a:gd name="connsiteX7" fmla="*/ 1412130 w 1854048"/>
              <a:gd name="connsiteY7" fmla="*/ 115948 h 4031251"/>
              <a:gd name="connsiteX8" fmla="*/ 1438324 w 1854048"/>
              <a:gd name="connsiteY8" fmla="*/ 56417 h 4031251"/>
              <a:gd name="connsiteX9" fmla="*/ 1495473 w 1854048"/>
              <a:gd name="connsiteY9" fmla="*/ 4028 h 4031251"/>
              <a:gd name="connsiteX10" fmla="*/ 1671684 w 1854048"/>
              <a:gd name="connsiteY10" fmla="*/ 6410 h 4031251"/>
              <a:gd name="connsiteX11" fmla="*/ 1816942 w 1854048"/>
              <a:gd name="connsiteY11" fmla="*/ 82610 h 4031251"/>
              <a:gd name="connsiteX12" fmla="*/ 1852103 w 1854048"/>
              <a:gd name="connsiteY12" fmla="*/ 175925 h 4031251"/>
              <a:gd name="connsiteX13" fmla="*/ 1854048 w 1854048"/>
              <a:gd name="connsiteY13" fmla="*/ 210300 h 4031251"/>
              <a:gd name="connsiteX14" fmla="*/ 1854048 w 1854048"/>
              <a:gd name="connsiteY14" fmla="*/ 3846889 h 4031251"/>
              <a:gd name="connsiteX15" fmla="*/ 1845815 w 1854048"/>
              <a:gd name="connsiteY15" fmla="*/ 3894099 h 4031251"/>
              <a:gd name="connsiteX16" fmla="*/ 1807418 w 1854048"/>
              <a:gd name="connsiteY16" fmla="*/ 3964048 h 4031251"/>
              <a:gd name="connsiteX17" fmla="*/ 1595486 w 1854048"/>
              <a:gd name="connsiteY17" fmla="*/ 4030722 h 4031251"/>
              <a:gd name="connsiteX18" fmla="*/ 245316 w 1854048"/>
              <a:gd name="connsiteY18" fmla="*/ 4030723 h 4031251"/>
              <a:gd name="connsiteX19" fmla="*/ 50055 w 1854048"/>
              <a:gd name="connsiteY19" fmla="*/ 3966430 h 4031251"/>
              <a:gd name="connsiteX20" fmla="*/ 48 w 1854048"/>
              <a:gd name="connsiteY20" fmla="*/ 3785454 h 4031251"/>
              <a:gd name="connsiteX21" fmla="*/ 48 w 1854048"/>
              <a:gd name="connsiteY21" fmla="*/ 251679 h 4031251"/>
              <a:gd name="connsiteX22" fmla="*/ 47675 w 1854048"/>
              <a:gd name="connsiteY22" fmla="*/ 61178 h 4031251"/>
              <a:gd name="connsiteX23" fmla="*/ 127930 w 1854048"/>
              <a:gd name="connsiteY23" fmla="*/ 9555 h 40312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854048" h="4031251">
                <a:moveTo>
                  <a:pt x="163971" y="0"/>
                </a:moveTo>
                <a:lnTo>
                  <a:pt x="364469" y="0"/>
                </a:lnTo>
                <a:lnTo>
                  <a:pt x="393066" y="4326"/>
                </a:lnTo>
                <a:cubicBezTo>
                  <a:pt x="415576" y="11024"/>
                  <a:pt x="409624" y="23080"/>
                  <a:pt x="414386" y="44511"/>
                </a:cubicBezTo>
                <a:cubicBezTo>
                  <a:pt x="418754" y="87374"/>
                  <a:pt x="425102" y="98088"/>
                  <a:pt x="445343" y="125472"/>
                </a:cubicBezTo>
                <a:cubicBezTo>
                  <a:pt x="465584" y="152856"/>
                  <a:pt x="485823" y="152063"/>
                  <a:pt x="535829" y="151666"/>
                </a:cubicBezTo>
                <a:lnTo>
                  <a:pt x="1324023" y="154048"/>
                </a:lnTo>
                <a:cubicBezTo>
                  <a:pt x="1376411" y="150873"/>
                  <a:pt x="1390699" y="132220"/>
                  <a:pt x="1412130" y="115948"/>
                </a:cubicBezTo>
                <a:cubicBezTo>
                  <a:pt x="1433561" y="99676"/>
                  <a:pt x="1436340" y="77451"/>
                  <a:pt x="1438324" y="56417"/>
                </a:cubicBezTo>
                <a:cubicBezTo>
                  <a:pt x="1440308" y="35383"/>
                  <a:pt x="1429592" y="1647"/>
                  <a:pt x="1495473" y="4028"/>
                </a:cubicBezTo>
                <a:cubicBezTo>
                  <a:pt x="1556592" y="4028"/>
                  <a:pt x="1603818" y="5219"/>
                  <a:pt x="1671684" y="6410"/>
                </a:cubicBezTo>
                <a:cubicBezTo>
                  <a:pt x="1739550" y="7601"/>
                  <a:pt x="1789955" y="46495"/>
                  <a:pt x="1816942" y="82610"/>
                </a:cubicBezTo>
                <a:cubicBezTo>
                  <a:pt x="1833015" y="107018"/>
                  <a:pt x="1846410" y="131426"/>
                  <a:pt x="1852103" y="175925"/>
                </a:cubicBezTo>
                <a:lnTo>
                  <a:pt x="1854048" y="210300"/>
                </a:lnTo>
                <a:lnTo>
                  <a:pt x="1854048" y="3846889"/>
                </a:lnTo>
                <a:lnTo>
                  <a:pt x="1845815" y="3894099"/>
                </a:lnTo>
                <a:cubicBezTo>
                  <a:pt x="1836787" y="3926147"/>
                  <a:pt x="1823293" y="3947379"/>
                  <a:pt x="1807418" y="3964048"/>
                </a:cubicBezTo>
                <a:cubicBezTo>
                  <a:pt x="1775668" y="3997386"/>
                  <a:pt x="1715342" y="4031517"/>
                  <a:pt x="1595486" y="4030722"/>
                </a:cubicBezTo>
                <a:cubicBezTo>
                  <a:pt x="1145429" y="4030722"/>
                  <a:pt x="355250" y="4031912"/>
                  <a:pt x="245316" y="4030723"/>
                </a:cubicBezTo>
                <a:cubicBezTo>
                  <a:pt x="135382" y="4029534"/>
                  <a:pt x="90933" y="4007308"/>
                  <a:pt x="50055" y="3966430"/>
                </a:cubicBezTo>
                <a:cubicBezTo>
                  <a:pt x="9177" y="3925552"/>
                  <a:pt x="1635" y="3884276"/>
                  <a:pt x="48" y="3785454"/>
                </a:cubicBezTo>
                <a:lnTo>
                  <a:pt x="48" y="251679"/>
                </a:lnTo>
                <a:cubicBezTo>
                  <a:pt x="-1143" y="128646"/>
                  <a:pt x="19894" y="96103"/>
                  <a:pt x="47675" y="61178"/>
                </a:cubicBezTo>
                <a:cubicBezTo>
                  <a:pt x="68511" y="34984"/>
                  <a:pt x="92918" y="20623"/>
                  <a:pt x="127930" y="9555"/>
                </a:cubicBezTo>
                <a:close/>
              </a:path>
            </a:pathLst>
          </a:custGeom>
          <a:ln w="3175">
            <a:noFill/>
          </a:ln>
        </p:spPr>
        <p:txBody>
          <a:bodyPr wrap="square" tIns="180000" rIns="0">
            <a:noAutofit/>
          </a:bodyPr>
          <a:lstStyle>
            <a:lvl1pPr algn="ctr">
              <a:spcBef>
                <a:spcPts val="0"/>
              </a:spcBef>
              <a:buFontTx/>
              <a:buNone/>
              <a:defRPr>
                <a:solidFill>
                  <a:schemeClr val="accent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Obr</a:t>
            </a:r>
          </a:p>
        </p:txBody>
      </p:sp>
      <p:pic>
        <p:nvPicPr>
          <p:cNvPr id="5" name="Picture 4" descr="Picture placeholder on NTB">
            <a:extLst>
              <a:ext uri="{FF2B5EF4-FFF2-40B4-BE49-F238E27FC236}">
                <a16:creationId xmlns:a16="http://schemas.microsoft.com/office/drawing/2014/main" id="{83BDD9CF-7056-D14F-6C98-08383FBD25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855" t="11185" r="2782" b="13217"/>
          <a:stretch/>
        </p:blipFill>
        <p:spPr>
          <a:xfrm>
            <a:off x="5288606" y="1778076"/>
            <a:ext cx="5079632" cy="3008958"/>
          </a:xfrm>
          <a:prstGeom prst="rect">
            <a:avLst/>
          </a:prstGeom>
        </p:spPr>
      </p:pic>
      <p:sp>
        <p:nvSpPr>
          <p:cNvPr id="8" name="Zástupný symbol pro obrázek 10">
            <a:extLst>
              <a:ext uri="{FF2B5EF4-FFF2-40B4-BE49-F238E27FC236}">
                <a16:creationId xmlns:a16="http://schemas.microsoft.com/office/drawing/2014/main" id="{D15D8CFF-B991-6428-A03C-ED319344C3EC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928544" y="1998378"/>
            <a:ext cx="3801600" cy="2381722"/>
          </a:xfrm>
        </p:spPr>
        <p:txBody>
          <a:bodyPr/>
          <a:lstStyle>
            <a:lvl1pPr algn="ctr">
              <a:buFontTx/>
              <a:buNone/>
              <a:defRPr>
                <a:solidFill>
                  <a:schemeClr val="accent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Obr</a:t>
            </a:r>
          </a:p>
        </p:txBody>
      </p:sp>
      <p:sp>
        <p:nvSpPr>
          <p:cNvPr id="13" name="Zástupný symbol pro obrázek 10">
            <a:extLst>
              <a:ext uri="{FF2B5EF4-FFF2-40B4-BE49-F238E27FC236}">
                <a16:creationId xmlns:a16="http://schemas.microsoft.com/office/drawing/2014/main" id="{8DB6E6F3-896A-1761-57EA-93B2D9BFC65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04433" y="2467446"/>
            <a:ext cx="2653200" cy="1854000"/>
          </a:xfrm>
          <a:prstGeom prst="roundRect">
            <a:avLst>
              <a:gd name="adj" fmla="val 2124"/>
            </a:avLst>
          </a:prstGeom>
        </p:spPr>
        <p:txBody>
          <a:bodyPr/>
          <a:lstStyle>
            <a:lvl1pPr algn="ctr">
              <a:buFontTx/>
              <a:buNone/>
              <a:defRPr>
                <a:solidFill>
                  <a:schemeClr val="accent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Obr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8D6BEC5B-BD30-950B-5B02-B20EBD2C6B5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06843" y="4321446"/>
            <a:ext cx="540000" cy="920700"/>
          </a:xfrm>
          <a:prstGeom prst="rect">
            <a:avLst/>
          </a:prstGeom>
        </p:spPr>
      </p:pic>
      <p:sp>
        <p:nvSpPr>
          <p:cNvPr id="20" name="Zástupný symbol pro obrázek 10">
            <a:extLst>
              <a:ext uri="{FF2B5EF4-FFF2-40B4-BE49-F238E27FC236}">
                <a16:creationId xmlns:a16="http://schemas.microsoft.com/office/drawing/2014/main" id="{24F28A04-BA62-6179-A6A4-4EE5267D30D4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4062413" y="4536280"/>
            <a:ext cx="406800" cy="489600"/>
          </a:xfrm>
          <a:prstGeom prst="roundRect">
            <a:avLst>
              <a:gd name="adj" fmla="val 17343"/>
            </a:avLst>
          </a:prstGeom>
        </p:spPr>
        <p:txBody>
          <a:bodyPr/>
          <a:lstStyle>
            <a:lvl1pPr algn="ctr">
              <a:buFontTx/>
              <a:buNone/>
              <a:defRPr>
                <a:solidFill>
                  <a:schemeClr val="accent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Obr</a:t>
            </a:r>
          </a:p>
        </p:txBody>
      </p:sp>
    </p:spTree>
    <p:extLst>
      <p:ext uri="{BB962C8B-B14F-4D97-AF65-F5344CB8AC3E}">
        <p14:creationId xmlns:p14="http://schemas.microsoft.com/office/powerpoint/2010/main" val="4376563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 userDrawn="1">
            <p:ph idx="1" hasCustomPrompt="1"/>
          </p:nvPr>
        </p:nvSpPr>
        <p:spPr>
          <a:xfrm>
            <a:off x="449263" y="1314450"/>
            <a:ext cx="9793287" cy="4032250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  <a:lvl6pPr marL="900000" indent="0">
              <a:buNone/>
              <a:defRPr/>
            </a:lvl6pPr>
          </a:lstStyle>
          <a:p>
            <a:pPr lvl="0"/>
            <a:r>
              <a:rPr lang="cs-CZ" noProof="0"/>
              <a:t>První úroveň</a:t>
            </a:r>
          </a:p>
          <a:p>
            <a:pPr lvl="1"/>
            <a:r>
              <a:rPr lang="cs-CZ" noProof="0"/>
              <a:t>Druhá úroveň</a:t>
            </a:r>
          </a:p>
          <a:p>
            <a:pPr lvl="2"/>
            <a:r>
              <a:rPr lang="cs-CZ" noProof="0"/>
              <a:t>Třetí úroveň</a:t>
            </a:r>
          </a:p>
          <a:p>
            <a:pPr lvl="3"/>
            <a:r>
              <a:rPr lang="cs-CZ" noProof="0"/>
              <a:t>Čtvrtá úroveň</a:t>
            </a:r>
          </a:p>
          <a:p>
            <a:pPr lvl="4"/>
            <a:r>
              <a:rPr lang="cs-CZ" noProof="0"/>
              <a:t>Pátá úroveň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 userDrawn="1"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8" name="Zástupný symbol pro zápatí 7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en-US" noProof="0"/>
              <a:t>S15 | 08.06.2023 | Future city tech | VTO | Miroslav Holan</a:t>
            </a:r>
            <a:endParaRPr lang="cs-CZ" noProof="0"/>
          </a:p>
        </p:txBody>
      </p:sp>
      <p:sp>
        <p:nvSpPr>
          <p:cNvPr id="29" name="Zástupný symbol pro text 28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449263" y="649287"/>
            <a:ext cx="9793288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/>
              <a:t>Podnadpis</a:t>
            </a:r>
          </a:p>
        </p:txBody>
      </p:sp>
      <p:sp>
        <p:nvSpPr>
          <p:cNvPr id="30" name="Nadpis 29"/>
          <p:cNvSpPr>
            <a:spLocks noGrp="1"/>
          </p:cNvSpPr>
          <p:nvPr userDrawn="1">
            <p:ph type="title" hasCustomPrompt="1"/>
          </p:nvPr>
        </p:nvSpPr>
        <p:spPr>
          <a:xfrm>
            <a:off x="449263" y="269875"/>
            <a:ext cx="9793287" cy="360000"/>
          </a:xfrm>
        </p:spPr>
        <p:txBody>
          <a:bodyPr/>
          <a:lstStyle>
            <a:lvl1pPr>
              <a:defRPr/>
            </a:lvl1pPr>
          </a:lstStyle>
          <a:p>
            <a:r>
              <a:rPr lang="cs-CZ" noProof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9645410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 hasCustomPrompt="1"/>
          </p:nvPr>
        </p:nvSpPr>
        <p:spPr>
          <a:xfrm>
            <a:off x="449263" y="1314450"/>
            <a:ext cx="4824412" cy="4032250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/>
              <a:t>První úroveň</a:t>
            </a:r>
          </a:p>
          <a:p>
            <a:pPr lvl="1"/>
            <a:r>
              <a:rPr lang="cs-CZ" noProof="0"/>
              <a:t>Druhá úroveň</a:t>
            </a:r>
          </a:p>
          <a:p>
            <a:pPr lvl="2"/>
            <a:r>
              <a:rPr lang="cs-CZ" noProof="0"/>
              <a:t>Třetí úroveň</a:t>
            </a:r>
          </a:p>
          <a:p>
            <a:pPr lvl="3"/>
            <a:r>
              <a:rPr lang="cs-CZ" noProof="0"/>
              <a:t>Čtvrtá úroveň</a:t>
            </a:r>
          </a:p>
          <a:p>
            <a:pPr lvl="4"/>
            <a:r>
              <a:rPr lang="cs-CZ" noProof="0"/>
              <a:t>Pátá úroveň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en-US" noProof="0"/>
              <a:t>S15 | 08.06.2023 | Future city tech | VTO | Miroslav Holan</a:t>
            </a:r>
            <a:endParaRPr lang="cs-CZ" noProof="0"/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648000"/>
            <a:ext cx="9793288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/>
              <a:t>Podnadpis</a:t>
            </a:r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/>
              <a:t>Nadpis (shrnutí stránky)</a:t>
            </a:r>
          </a:p>
        </p:txBody>
      </p:sp>
      <p:sp>
        <p:nvSpPr>
          <p:cNvPr id="9" name="Zástupný symbol pro obsah 2"/>
          <p:cNvSpPr>
            <a:spLocks noGrp="1"/>
          </p:cNvSpPr>
          <p:nvPr>
            <p:ph idx="13" hasCustomPrompt="1"/>
          </p:nvPr>
        </p:nvSpPr>
        <p:spPr>
          <a:xfrm>
            <a:off x="5418139" y="1314450"/>
            <a:ext cx="4824411" cy="4032250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/>
              <a:t>První úroveň</a:t>
            </a:r>
          </a:p>
          <a:p>
            <a:pPr lvl="1"/>
            <a:r>
              <a:rPr lang="cs-CZ" noProof="0"/>
              <a:t>Druhá úroveň</a:t>
            </a:r>
          </a:p>
          <a:p>
            <a:pPr lvl="2"/>
            <a:r>
              <a:rPr lang="cs-CZ" noProof="0"/>
              <a:t>Třetí úroveň</a:t>
            </a:r>
          </a:p>
          <a:p>
            <a:pPr lvl="3"/>
            <a:r>
              <a:rPr lang="cs-CZ" noProof="0"/>
              <a:t>Čtvrtá úroveň</a:t>
            </a:r>
          </a:p>
          <a:p>
            <a:pPr lvl="4"/>
            <a:r>
              <a:rPr lang="cs-CZ" noProof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4708262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 hasCustomPrompt="1"/>
          </p:nvPr>
        </p:nvSpPr>
        <p:spPr>
          <a:xfrm>
            <a:off x="449261" y="1314450"/>
            <a:ext cx="3168651" cy="4032250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/>
              <a:t>První úroveň</a:t>
            </a:r>
          </a:p>
          <a:p>
            <a:pPr lvl="1"/>
            <a:r>
              <a:rPr lang="cs-CZ" noProof="0"/>
              <a:t>Druhá úroveň</a:t>
            </a:r>
          </a:p>
          <a:p>
            <a:pPr lvl="2"/>
            <a:r>
              <a:rPr lang="cs-CZ" noProof="0"/>
              <a:t>Třetí úroveň</a:t>
            </a:r>
          </a:p>
          <a:p>
            <a:pPr lvl="3"/>
            <a:r>
              <a:rPr lang="cs-CZ" noProof="0"/>
              <a:t>Čtvrtá úroveň</a:t>
            </a:r>
          </a:p>
          <a:p>
            <a:pPr lvl="4"/>
            <a:r>
              <a:rPr lang="cs-CZ" noProof="0"/>
              <a:t>Pátá úroveň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en-US" noProof="0"/>
              <a:t>S15 | 08.06.2023 | Future city tech | VTO | Miroslav Holan</a:t>
            </a:r>
            <a:endParaRPr lang="cs-CZ" noProof="0"/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648000"/>
            <a:ext cx="9793287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/>
              <a:t>Podnadpis</a:t>
            </a:r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/>
              <a:t>Nadpis (shrnutí stránky)</a:t>
            </a:r>
          </a:p>
        </p:txBody>
      </p:sp>
      <p:sp>
        <p:nvSpPr>
          <p:cNvPr id="10" name="Zástupný symbol pro obsah 2"/>
          <p:cNvSpPr>
            <a:spLocks noGrp="1"/>
          </p:cNvSpPr>
          <p:nvPr>
            <p:ph idx="13" hasCustomPrompt="1"/>
          </p:nvPr>
        </p:nvSpPr>
        <p:spPr>
          <a:xfrm>
            <a:off x="3762375" y="1314450"/>
            <a:ext cx="3167063" cy="4032250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/>
              <a:t>První úroveň</a:t>
            </a:r>
          </a:p>
          <a:p>
            <a:pPr lvl="1"/>
            <a:r>
              <a:rPr lang="cs-CZ" noProof="0"/>
              <a:t>Druhá úroveň</a:t>
            </a:r>
          </a:p>
          <a:p>
            <a:pPr lvl="2"/>
            <a:r>
              <a:rPr lang="cs-CZ" noProof="0"/>
              <a:t>Třetí úroveň</a:t>
            </a:r>
          </a:p>
          <a:p>
            <a:pPr lvl="3"/>
            <a:r>
              <a:rPr lang="cs-CZ" noProof="0"/>
              <a:t>Čtvrtá úroveň</a:t>
            </a:r>
          </a:p>
          <a:p>
            <a:pPr lvl="4"/>
            <a:r>
              <a:rPr lang="cs-CZ" noProof="0"/>
              <a:t>Pátá úroveň</a:t>
            </a:r>
          </a:p>
        </p:txBody>
      </p:sp>
      <p:sp>
        <p:nvSpPr>
          <p:cNvPr id="11" name="Zástupný symbol pro obsah 2"/>
          <p:cNvSpPr>
            <a:spLocks noGrp="1"/>
          </p:cNvSpPr>
          <p:nvPr>
            <p:ph idx="14" hasCustomPrompt="1"/>
          </p:nvPr>
        </p:nvSpPr>
        <p:spPr>
          <a:xfrm>
            <a:off x="7073900" y="1314450"/>
            <a:ext cx="3168650" cy="4032250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/>
              <a:t>První úroveň</a:t>
            </a:r>
          </a:p>
          <a:p>
            <a:pPr lvl="1"/>
            <a:r>
              <a:rPr lang="cs-CZ" noProof="0"/>
              <a:t>Druhá úroveň</a:t>
            </a:r>
          </a:p>
          <a:p>
            <a:pPr lvl="2"/>
            <a:r>
              <a:rPr lang="cs-CZ" noProof="0"/>
              <a:t>Třetí úroveň</a:t>
            </a:r>
          </a:p>
          <a:p>
            <a:pPr lvl="3"/>
            <a:r>
              <a:rPr lang="cs-CZ" noProof="0"/>
              <a:t>Čtvrtá úroveň</a:t>
            </a:r>
          </a:p>
          <a:p>
            <a:pPr lvl="4"/>
            <a:r>
              <a:rPr lang="cs-CZ" noProof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3373533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ADB3A0F4-8FD1-BB33-A8B9-BD088CAF92A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39693" y="5657211"/>
            <a:ext cx="1002857" cy="108000"/>
          </a:xfrm>
          <a:prstGeom prst="rect">
            <a:avLst/>
          </a:prstGeom>
        </p:spPr>
      </p:pic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802F308-AC92-5DF3-874F-EFBBB2062E7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418138" y="0"/>
            <a:ext cx="5273675" cy="6011863"/>
          </a:xfrm>
          <a:custGeom>
            <a:avLst/>
            <a:gdLst>
              <a:gd name="connsiteX0" fmla="*/ 4487654 w 5273675"/>
              <a:gd name="connsiteY0" fmla="*/ 5682866 h 6011863"/>
              <a:gd name="connsiteX1" fmla="*/ 4551760 w 5273675"/>
              <a:gd name="connsiteY1" fmla="*/ 5682866 h 6011863"/>
              <a:gd name="connsiteX2" fmla="*/ 4569114 w 5273675"/>
              <a:gd name="connsiteY2" fmla="*/ 5699607 h 6011863"/>
              <a:gd name="connsiteX3" fmla="*/ 4569114 w 5273675"/>
              <a:gd name="connsiteY3" fmla="*/ 5727577 h 6011863"/>
              <a:gd name="connsiteX4" fmla="*/ 4551760 w 5273675"/>
              <a:gd name="connsiteY4" fmla="*/ 5744318 h 6011863"/>
              <a:gd name="connsiteX5" fmla="*/ 4487654 w 5273675"/>
              <a:gd name="connsiteY5" fmla="*/ 5744318 h 6011863"/>
              <a:gd name="connsiteX6" fmla="*/ 4272791 w 5273675"/>
              <a:gd name="connsiteY6" fmla="*/ 5682866 h 6011863"/>
              <a:gd name="connsiteX7" fmla="*/ 4326893 w 5273675"/>
              <a:gd name="connsiteY7" fmla="*/ 5682866 h 6011863"/>
              <a:gd name="connsiteX8" fmla="*/ 4343022 w 5273675"/>
              <a:gd name="connsiteY8" fmla="*/ 5698586 h 6011863"/>
              <a:gd name="connsiteX9" fmla="*/ 4343022 w 5273675"/>
              <a:gd name="connsiteY9" fmla="*/ 5728598 h 6011863"/>
              <a:gd name="connsiteX10" fmla="*/ 4326893 w 5273675"/>
              <a:gd name="connsiteY10" fmla="*/ 5744318 h 6011863"/>
              <a:gd name="connsiteX11" fmla="*/ 4272791 w 5273675"/>
              <a:gd name="connsiteY11" fmla="*/ 5744318 h 6011863"/>
              <a:gd name="connsiteX12" fmla="*/ 4256662 w 5273675"/>
              <a:gd name="connsiteY12" fmla="*/ 5728598 h 6011863"/>
              <a:gd name="connsiteX13" fmla="*/ 4256662 w 5273675"/>
              <a:gd name="connsiteY13" fmla="*/ 5698586 h 6011863"/>
              <a:gd name="connsiteX14" fmla="*/ 4272791 w 5273675"/>
              <a:gd name="connsiteY14" fmla="*/ 5682866 h 6011863"/>
              <a:gd name="connsiteX15" fmla="*/ 4745604 w 5273675"/>
              <a:gd name="connsiteY15" fmla="*/ 5679803 h 6011863"/>
              <a:gd name="connsiteX16" fmla="*/ 4771539 w 5273675"/>
              <a:gd name="connsiteY16" fmla="*/ 5725739 h 6011863"/>
              <a:gd name="connsiteX17" fmla="*/ 4719676 w 5273675"/>
              <a:gd name="connsiteY17" fmla="*/ 5725739 h 6011863"/>
              <a:gd name="connsiteX18" fmla="*/ 4728046 w 5273675"/>
              <a:gd name="connsiteY18" fmla="*/ 5659592 h 6011863"/>
              <a:gd name="connsiteX19" fmla="*/ 4667412 w 5273675"/>
              <a:gd name="connsiteY19" fmla="*/ 5767592 h 6011863"/>
              <a:gd name="connsiteX20" fmla="*/ 4696202 w 5273675"/>
              <a:gd name="connsiteY20" fmla="*/ 5767592 h 6011863"/>
              <a:gd name="connsiteX21" fmla="*/ 4719067 w 5273675"/>
              <a:gd name="connsiteY21" fmla="*/ 5726964 h 6011863"/>
              <a:gd name="connsiteX22" fmla="*/ 4732952 w 5273675"/>
              <a:gd name="connsiteY22" fmla="*/ 5749014 h 6011863"/>
              <a:gd name="connsiteX23" fmla="*/ 4784600 w 5273675"/>
              <a:gd name="connsiteY23" fmla="*/ 5749014 h 6011863"/>
              <a:gd name="connsiteX24" fmla="*/ 4795014 w 5273675"/>
              <a:gd name="connsiteY24" fmla="*/ 5767592 h 6011863"/>
              <a:gd name="connsiteX25" fmla="*/ 4824413 w 5273675"/>
              <a:gd name="connsiteY25" fmla="*/ 5767592 h 6011863"/>
              <a:gd name="connsiteX26" fmla="*/ 4763779 w 5273675"/>
              <a:gd name="connsiteY26" fmla="*/ 5659592 h 6011863"/>
              <a:gd name="connsiteX27" fmla="*/ 4461930 w 5273675"/>
              <a:gd name="connsiteY27" fmla="*/ 5659592 h 6011863"/>
              <a:gd name="connsiteX28" fmla="*/ 4461930 w 5273675"/>
              <a:gd name="connsiteY28" fmla="*/ 5767592 h 6011863"/>
              <a:gd name="connsiteX29" fmla="*/ 4552373 w 5273675"/>
              <a:gd name="connsiteY29" fmla="*/ 5767592 h 6011863"/>
              <a:gd name="connsiteX30" fmla="*/ 4594836 w 5273675"/>
              <a:gd name="connsiteY30" fmla="*/ 5726352 h 6011863"/>
              <a:gd name="connsiteX31" fmla="*/ 4594836 w 5273675"/>
              <a:gd name="connsiteY31" fmla="*/ 5700832 h 6011863"/>
              <a:gd name="connsiteX32" fmla="*/ 4552373 w 5273675"/>
              <a:gd name="connsiteY32" fmla="*/ 5659592 h 6011863"/>
              <a:gd name="connsiteX33" fmla="*/ 4272178 w 5273675"/>
              <a:gd name="connsiteY33" fmla="*/ 5659592 h 6011863"/>
              <a:gd name="connsiteX34" fmla="*/ 4230938 w 5273675"/>
              <a:gd name="connsiteY34" fmla="*/ 5699811 h 6011863"/>
              <a:gd name="connsiteX35" fmla="*/ 4230938 w 5273675"/>
              <a:gd name="connsiteY35" fmla="*/ 5727373 h 6011863"/>
              <a:gd name="connsiteX36" fmla="*/ 4272178 w 5273675"/>
              <a:gd name="connsiteY36" fmla="*/ 5767592 h 6011863"/>
              <a:gd name="connsiteX37" fmla="*/ 4327505 w 5273675"/>
              <a:gd name="connsiteY37" fmla="*/ 5767592 h 6011863"/>
              <a:gd name="connsiteX38" fmla="*/ 4368746 w 5273675"/>
              <a:gd name="connsiteY38" fmla="*/ 5727373 h 6011863"/>
              <a:gd name="connsiteX39" fmla="*/ 4368746 w 5273675"/>
              <a:gd name="connsiteY39" fmla="*/ 5699811 h 6011863"/>
              <a:gd name="connsiteX40" fmla="*/ 4327505 w 5273675"/>
              <a:gd name="connsiteY40" fmla="*/ 5659592 h 6011863"/>
              <a:gd name="connsiteX41" fmla="*/ 4029150 w 5273675"/>
              <a:gd name="connsiteY41" fmla="*/ 5659592 h 6011863"/>
              <a:gd name="connsiteX42" fmla="*/ 4029150 w 5273675"/>
              <a:gd name="connsiteY42" fmla="*/ 5767592 h 6011863"/>
              <a:gd name="connsiteX43" fmla="*/ 4054875 w 5273675"/>
              <a:gd name="connsiteY43" fmla="*/ 5767592 h 6011863"/>
              <a:gd name="connsiteX44" fmla="*/ 4054875 w 5273675"/>
              <a:gd name="connsiteY44" fmla="*/ 5724923 h 6011863"/>
              <a:gd name="connsiteX45" fmla="*/ 4087949 w 5273675"/>
              <a:gd name="connsiteY45" fmla="*/ 5724923 h 6011863"/>
              <a:gd name="connsiteX46" fmla="*/ 4132251 w 5273675"/>
              <a:gd name="connsiteY46" fmla="*/ 5767592 h 6011863"/>
              <a:gd name="connsiteX47" fmla="*/ 4168387 w 5273675"/>
              <a:gd name="connsiteY47" fmla="*/ 5767592 h 6011863"/>
              <a:gd name="connsiteX48" fmla="*/ 4111018 w 5273675"/>
              <a:gd name="connsiteY48" fmla="*/ 5713286 h 6011863"/>
              <a:gd name="connsiteX49" fmla="*/ 4167367 w 5273675"/>
              <a:gd name="connsiteY49" fmla="*/ 5659592 h 6011863"/>
              <a:gd name="connsiteX50" fmla="*/ 4133272 w 5273675"/>
              <a:gd name="connsiteY50" fmla="*/ 5659592 h 6011863"/>
              <a:gd name="connsiteX51" fmla="*/ 4088969 w 5273675"/>
              <a:gd name="connsiteY51" fmla="*/ 5701649 h 6011863"/>
              <a:gd name="connsiteX52" fmla="*/ 4054875 w 5273675"/>
              <a:gd name="connsiteY52" fmla="*/ 5701649 h 6011863"/>
              <a:gd name="connsiteX53" fmla="*/ 4054875 w 5273675"/>
              <a:gd name="connsiteY53" fmla="*/ 5659592 h 6011863"/>
              <a:gd name="connsiteX54" fmla="*/ 3860550 w 5273675"/>
              <a:gd name="connsiteY54" fmla="*/ 5659592 h 6011863"/>
              <a:gd name="connsiteX55" fmla="*/ 3875250 w 5273675"/>
              <a:gd name="connsiteY55" fmla="*/ 5682049 h 6011863"/>
              <a:gd name="connsiteX56" fmla="*/ 3935069 w 5273675"/>
              <a:gd name="connsiteY56" fmla="*/ 5682049 h 6011863"/>
              <a:gd name="connsiteX57" fmla="*/ 3949360 w 5273675"/>
              <a:gd name="connsiteY57" fmla="*/ 5659592 h 6011863"/>
              <a:gd name="connsiteX58" fmla="*/ 3848301 w 5273675"/>
              <a:gd name="connsiteY58" fmla="*/ 5659592 h 6011863"/>
              <a:gd name="connsiteX59" fmla="*/ 3824619 w 5273675"/>
              <a:gd name="connsiteY59" fmla="*/ 5684499 h 6011863"/>
              <a:gd name="connsiteX60" fmla="*/ 3824619 w 5273675"/>
              <a:gd name="connsiteY60" fmla="*/ 5693482 h 6011863"/>
              <a:gd name="connsiteX61" fmla="*/ 3855242 w 5273675"/>
              <a:gd name="connsiteY61" fmla="*/ 5723698 h 6011863"/>
              <a:gd name="connsiteX62" fmla="*/ 3926494 w 5273675"/>
              <a:gd name="connsiteY62" fmla="*/ 5723698 h 6011863"/>
              <a:gd name="connsiteX63" fmla="*/ 3926494 w 5273675"/>
              <a:gd name="connsiteY63" fmla="*/ 5736968 h 6011863"/>
              <a:gd name="connsiteX64" fmla="*/ 3918736 w 5273675"/>
              <a:gd name="connsiteY64" fmla="*/ 5744726 h 6011863"/>
              <a:gd name="connsiteX65" fmla="*/ 3835847 w 5273675"/>
              <a:gd name="connsiteY65" fmla="*/ 5744726 h 6011863"/>
              <a:gd name="connsiteX66" fmla="*/ 3821556 w 5273675"/>
              <a:gd name="connsiteY66" fmla="*/ 5767592 h 6011863"/>
              <a:gd name="connsiteX67" fmla="*/ 3921186 w 5273675"/>
              <a:gd name="connsiteY67" fmla="*/ 5767592 h 6011863"/>
              <a:gd name="connsiteX68" fmla="*/ 3951810 w 5273675"/>
              <a:gd name="connsiteY68" fmla="*/ 5737377 h 6011863"/>
              <a:gd name="connsiteX69" fmla="*/ 3951810 w 5273675"/>
              <a:gd name="connsiteY69" fmla="*/ 5725535 h 6011863"/>
              <a:gd name="connsiteX70" fmla="*/ 3926698 w 5273675"/>
              <a:gd name="connsiteY70" fmla="*/ 5700832 h 6011863"/>
              <a:gd name="connsiteX71" fmla="*/ 3857692 w 5273675"/>
              <a:gd name="connsiteY71" fmla="*/ 5700832 h 6011863"/>
              <a:gd name="connsiteX72" fmla="*/ 3849934 w 5273675"/>
              <a:gd name="connsiteY72" fmla="*/ 5693074 h 6011863"/>
              <a:gd name="connsiteX73" fmla="*/ 3849934 w 5273675"/>
              <a:gd name="connsiteY73" fmla="*/ 5659592 h 6011863"/>
              <a:gd name="connsiteX74" fmla="*/ 0 w 5273675"/>
              <a:gd name="connsiteY74" fmla="*/ 0 h 6011863"/>
              <a:gd name="connsiteX75" fmla="*/ 5273675 w 5273675"/>
              <a:gd name="connsiteY75" fmla="*/ 0 h 6011863"/>
              <a:gd name="connsiteX76" fmla="*/ 5273675 w 5273675"/>
              <a:gd name="connsiteY76" fmla="*/ 6011863 h 6011863"/>
              <a:gd name="connsiteX77" fmla="*/ 0 w 5273675"/>
              <a:gd name="connsiteY77" fmla="*/ 6011863 h 6011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</a:cxnLst>
            <a:rect l="l" t="t" r="r" b="b"/>
            <a:pathLst>
              <a:path w="5273675" h="6011863">
                <a:moveTo>
                  <a:pt x="4487654" y="5682866"/>
                </a:moveTo>
                <a:lnTo>
                  <a:pt x="4551760" y="5682866"/>
                </a:lnTo>
                <a:cubicBezTo>
                  <a:pt x="4562377" y="5682866"/>
                  <a:pt x="4569114" y="5689399"/>
                  <a:pt x="4569114" y="5699607"/>
                </a:cubicBezTo>
                <a:lnTo>
                  <a:pt x="4569114" y="5727577"/>
                </a:lnTo>
                <a:cubicBezTo>
                  <a:pt x="4569114" y="5737785"/>
                  <a:pt x="4562377" y="5744318"/>
                  <a:pt x="4551760" y="5744318"/>
                </a:cubicBezTo>
                <a:lnTo>
                  <a:pt x="4487654" y="5744318"/>
                </a:lnTo>
                <a:close/>
                <a:moveTo>
                  <a:pt x="4272791" y="5682866"/>
                </a:moveTo>
                <a:lnTo>
                  <a:pt x="4326893" y="5682866"/>
                </a:lnTo>
                <a:cubicBezTo>
                  <a:pt x="4336692" y="5682866"/>
                  <a:pt x="4343022" y="5688991"/>
                  <a:pt x="4343022" y="5698586"/>
                </a:cubicBezTo>
                <a:lnTo>
                  <a:pt x="4343022" y="5728598"/>
                </a:lnTo>
                <a:cubicBezTo>
                  <a:pt x="4343022" y="5738194"/>
                  <a:pt x="4336692" y="5744318"/>
                  <a:pt x="4326893" y="5744318"/>
                </a:cubicBezTo>
                <a:lnTo>
                  <a:pt x="4272791" y="5744318"/>
                </a:lnTo>
                <a:cubicBezTo>
                  <a:pt x="4262991" y="5744318"/>
                  <a:pt x="4256662" y="5738193"/>
                  <a:pt x="4256662" y="5728598"/>
                </a:cubicBezTo>
                <a:lnTo>
                  <a:pt x="4256662" y="5698586"/>
                </a:lnTo>
                <a:cubicBezTo>
                  <a:pt x="4256662" y="5688991"/>
                  <a:pt x="4262991" y="5682866"/>
                  <a:pt x="4272791" y="5682866"/>
                </a:cubicBezTo>
                <a:close/>
                <a:moveTo>
                  <a:pt x="4745604" y="5679803"/>
                </a:moveTo>
                <a:lnTo>
                  <a:pt x="4771539" y="5725739"/>
                </a:lnTo>
                <a:lnTo>
                  <a:pt x="4719676" y="5725739"/>
                </a:lnTo>
                <a:close/>
                <a:moveTo>
                  <a:pt x="4728046" y="5659592"/>
                </a:moveTo>
                <a:lnTo>
                  <a:pt x="4667412" y="5767592"/>
                </a:lnTo>
                <a:lnTo>
                  <a:pt x="4696202" y="5767592"/>
                </a:lnTo>
                <a:lnTo>
                  <a:pt x="4719067" y="5726964"/>
                </a:lnTo>
                <a:lnTo>
                  <a:pt x="4732952" y="5749014"/>
                </a:lnTo>
                <a:lnTo>
                  <a:pt x="4784600" y="5749014"/>
                </a:lnTo>
                <a:lnTo>
                  <a:pt x="4795014" y="5767592"/>
                </a:lnTo>
                <a:lnTo>
                  <a:pt x="4824413" y="5767592"/>
                </a:lnTo>
                <a:lnTo>
                  <a:pt x="4763779" y="5659592"/>
                </a:lnTo>
                <a:close/>
                <a:moveTo>
                  <a:pt x="4461930" y="5659592"/>
                </a:moveTo>
                <a:lnTo>
                  <a:pt x="4461930" y="5767592"/>
                </a:lnTo>
                <a:lnTo>
                  <a:pt x="4552373" y="5767592"/>
                </a:lnTo>
                <a:cubicBezTo>
                  <a:pt x="4579322" y="5767592"/>
                  <a:pt x="4594836" y="5752076"/>
                  <a:pt x="4594836" y="5726352"/>
                </a:cubicBezTo>
                <a:lnTo>
                  <a:pt x="4594836" y="5700832"/>
                </a:lnTo>
                <a:cubicBezTo>
                  <a:pt x="4594836" y="5675108"/>
                  <a:pt x="4579322" y="5659592"/>
                  <a:pt x="4552373" y="5659592"/>
                </a:cubicBezTo>
                <a:close/>
                <a:moveTo>
                  <a:pt x="4272178" y="5659592"/>
                </a:moveTo>
                <a:cubicBezTo>
                  <a:pt x="4246045" y="5659592"/>
                  <a:pt x="4230938" y="5674700"/>
                  <a:pt x="4230938" y="5699811"/>
                </a:cubicBezTo>
                <a:lnTo>
                  <a:pt x="4230938" y="5727373"/>
                </a:lnTo>
                <a:cubicBezTo>
                  <a:pt x="4230938" y="5752484"/>
                  <a:pt x="4246046" y="5767592"/>
                  <a:pt x="4272178" y="5767592"/>
                </a:cubicBezTo>
                <a:lnTo>
                  <a:pt x="4327505" y="5767592"/>
                </a:lnTo>
                <a:cubicBezTo>
                  <a:pt x="4353638" y="5767592"/>
                  <a:pt x="4368746" y="5752484"/>
                  <a:pt x="4368746" y="5727373"/>
                </a:cubicBezTo>
                <a:lnTo>
                  <a:pt x="4368746" y="5699811"/>
                </a:lnTo>
                <a:cubicBezTo>
                  <a:pt x="4368746" y="5674700"/>
                  <a:pt x="4353637" y="5659592"/>
                  <a:pt x="4327505" y="5659592"/>
                </a:cubicBezTo>
                <a:close/>
                <a:moveTo>
                  <a:pt x="4029150" y="5659592"/>
                </a:moveTo>
                <a:lnTo>
                  <a:pt x="4029150" y="5767592"/>
                </a:lnTo>
                <a:lnTo>
                  <a:pt x="4054875" y="5767592"/>
                </a:lnTo>
                <a:lnTo>
                  <a:pt x="4054875" y="5724923"/>
                </a:lnTo>
                <a:lnTo>
                  <a:pt x="4087949" y="5724923"/>
                </a:lnTo>
                <a:lnTo>
                  <a:pt x="4132251" y="5767592"/>
                </a:lnTo>
                <a:lnTo>
                  <a:pt x="4168387" y="5767592"/>
                </a:lnTo>
                <a:lnTo>
                  <a:pt x="4111018" y="5713286"/>
                </a:lnTo>
                <a:lnTo>
                  <a:pt x="4167367" y="5659592"/>
                </a:lnTo>
                <a:lnTo>
                  <a:pt x="4133272" y="5659592"/>
                </a:lnTo>
                <a:lnTo>
                  <a:pt x="4088969" y="5701649"/>
                </a:lnTo>
                <a:lnTo>
                  <a:pt x="4054875" y="5701649"/>
                </a:lnTo>
                <a:lnTo>
                  <a:pt x="4054875" y="5659592"/>
                </a:lnTo>
                <a:close/>
                <a:moveTo>
                  <a:pt x="3860550" y="5659592"/>
                </a:moveTo>
                <a:lnTo>
                  <a:pt x="3875250" y="5682049"/>
                </a:lnTo>
                <a:lnTo>
                  <a:pt x="3935069" y="5682049"/>
                </a:lnTo>
                <a:lnTo>
                  <a:pt x="3949360" y="5659592"/>
                </a:lnTo>
                <a:close/>
                <a:moveTo>
                  <a:pt x="3848301" y="5659592"/>
                </a:moveTo>
                <a:cubicBezTo>
                  <a:pt x="3833806" y="5659592"/>
                  <a:pt x="3824619" y="5668983"/>
                  <a:pt x="3824619" y="5684499"/>
                </a:cubicBezTo>
                <a:lnTo>
                  <a:pt x="3824619" y="5693482"/>
                </a:lnTo>
                <a:cubicBezTo>
                  <a:pt x="3824619" y="5714307"/>
                  <a:pt x="3834010" y="5723698"/>
                  <a:pt x="3855242" y="5723698"/>
                </a:cubicBezTo>
                <a:lnTo>
                  <a:pt x="3926494" y="5723698"/>
                </a:lnTo>
                <a:lnTo>
                  <a:pt x="3926494" y="5736968"/>
                </a:lnTo>
                <a:cubicBezTo>
                  <a:pt x="3926494" y="5741664"/>
                  <a:pt x="3923432" y="5744726"/>
                  <a:pt x="3918736" y="5744726"/>
                </a:cubicBezTo>
                <a:lnTo>
                  <a:pt x="3835847" y="5744726"/>
                </a:lnTo>
                <a:lnTo>
                  <a:pt x="3821556" y="5767592"/>
                </a:lnTo>
                <a:lnTo>
                  <a:pt x="3921186" y="5767592"/>
                </a:lnTo>
                <a:cubicBezTo>
                  <a:pt x="3941806" y="5767592"/>
                  <a:pt x="3951810" y="5757588"/>
                  <a:pt x="3951810" y="5737377"/>
                </a:cubicBezTo>
                <a:lnTo>
                  <a:pt x="3951810" y="5725535"/>
                </a:lnTo>
                <a:cubicBezTo>
                  <a:pt x="3951810" y="5710223"/>
                  <a:pt x="3942418" y="5700832"/>
                  <a:pt x="3926698" y="5700832"/>
                </a:cubicBezTo>
                <a:lnTo>
                  <a:pt x="3857692" y="5700832"/>
                </a:lnTo>
                <a:cubicBezTo>
                  <a:pt x="3852997" y="5700832"/>
                  <a:pt x="3849934" y="5697770"/>
                  <a:pt x="3849934" y="5693074"/>
                </a:cubicBezTo>
                <a:lnTo>
                  <a:pt x="3849934" y="5659592"/>
                </a:lnTo>
                <a:close/>
                <a:moveTo>
                  <a:pt x="0" y="0"/>
                </a:moveTo>
                <a:lnTo>
                  <a:pt x="5273675" y="0"/>
                </a:lnTo>
                <a:lnTo>
                  <a:pt x="5273675" y="6011863"/>
                </a:lnTo>
                <a:lnTo>
                  <a:pt x="0" y="6011863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Obrázek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310DF32-F382-E76F-052A-ADD2ECABD4D2}"/>
              </a:ext>
            </a:extLst>
          </p:cNvPr>
          <p:cNvSpPr/>
          <p:nvPr userDrawn="1"/>
        </p:nvSpPr>
        <p:spPr>
          <a:xfrm>
            <a:off x="0" y="0"/>
            <a:ext cx="5418138" cy="60118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noProof="0"/>
          </a:p>
        </p:txBody>
      </p:sp>
      <p:sp>
        <p:nvSpPr>
          <p:cNvPr id="3" name="Zástupný symbol pro obsah 2"/>
          <p:cNvSpPr>
            <a:spLocks noGrp="1"/>
          </p:cNvSpPr>
          <p:nvPr>
            <p:ph idx="1" hasCustomPrompt="1"/>
          </p:nvPr>
        </p:nvSpPr>
        <p:spPr>
          <a:xfrm>
            <a:off x="449263" y="1314450"/>
            <a:ext cx="4536000" cy="4032250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/>
              <a:t>První úroveň</a:t>
            </a:r>
          </a:p>
          <a:p>
            <a:pPr lvl="1"/>
            <a:r>
              <a:rPr lang="cs-CZ" noProof="0"/>
              <a:t>Druhá úroveň</a:t>
            </a:r>
          </a:p>
          <a:p>
            <a:pPr lvl="2"/>
            <a:r>
              <a:rPr lang="cs-CZ" noProof="0"/>
              <a:t>Třetí úroveň</a:t>
            </a:r>
          </a:p>
          <a:p>
            <a:pPr lvl="3"/>
            <a:r>
              <a:rPr lang="cs-CZ" noProof="0"/>
              <a:t>Čtvrtá úroveň</a:t>
            </a:r>
          </a:p>
          <a:p>
            <a:pPr lvl="4"/>
            <a:r>
              <a:rPr lang="cs-CZ" noProof="0"/>
              <a:t>Pátá úroveň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en-US" noProof="0"/>
              <a:t>S15 | 08.06.2023 | Future city tech | VTO | Miroslav Holan</a:t>
            </a:r>
            <a:endParaRPr lang="cs-CZ" noProof="0"/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648000"/>
            <a:ext cx="4535999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/>
              <a:t>Podnadpis</a:t>
            </a:r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>
          <a:xfrm>
            <a:off x="449264" y="269875"/>
            <a:ext cx="4535999" cy="360000"/>
          </a:xfrm>
        </p:spPr>
        <p:txBody>
          <a:bodyPr/>
          <a:lstStyle>
            <a:lvl1pPr>
              <a:defRPr/>
            </a:lvl1pPr>
          </a:lstStyle>
          <a:p>
            <a:r>
              <a:rPr lang="cs-CZ" noProof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15452247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en-US" noProof="0"/>
              <a:t>S15 | 08.06.2023 | Future city tech | VTO | Miroslav Holan</a:t>
            </a:r>
            <a:endParaRPr lang="cs-CZ" noProof="0"/>
          </a:p>
        </p:txBody>
      </p:sp>
      <p:sp>
        <p:nvSpPr>
          <p:cNvPr id="9" name="Zástupný symbol pro text 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1314450"/>
            <a:ext cx="3168650" cy="4032250"/>
          </a:xfrm>
        </p:spPr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/>
              <a:t>První úroveň</a:t>
            </a:r>
          </a:p>
          <a:p>
            <a:pPr lvl="1"/>
            <a:r>
              <a:rPr lang="cs-CZ" noProof="0"/>
              <a:t>Druhá úroveň</a:t>
            </a:r>
          </a:p>
          <a:p>
            <a:pPr lvl="2"/>
            <a:r>
              <a:rPr lang="cs-CZ" noProof="0"/>
              <a:t>Třetí úroveň</a:t>
            </a:r>
          </a:p>
          <a:p>
            <a:pPr lvl="3"/>
            <a:r>
              <a:rPr lang="cs-CZ" noProof="0"/>
              <a:t>Čtvrtá úroveň</a:t>
            </a:r>
          </a:p>
          <a:p>
            <a:pPr lvl="4"/>
            <a:r>
              <a:rPr lang="cs-CZ" noProof="0"/>
              <a:t>Pátá úroveň</a:t>
            </a:r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3762375" y="1314450"/>
            <a:ext cx="6480175" cy="4032250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Obrázek</a:t>
            </a:r>
          </a:p>
        </p:txBody>
      </p:sp>
      <p:sp>
        <p:nvSpPr>
          <p:cNvPr id="15" name="Zástupný symbol pro text 28"/>
          <p:cNvSpPr>
            <a:spLocks noGrp="1"/>
          </p:cNvSpPr>
          <p:nvPr>
            <p:ph type="body" sz="quarter" idx="14" hasCustomPrompt="1"/>
          </p:nvPr>
        </p:nvSpPr>
        <p:spPr>
          <a:xfrm>
            <a:off x="449263" y="648000"/>
            <a:ext cx="9793287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/>
              <a:t>Podnadpis</a:t>
            </a:r>
          </a:p>
        </p:txBody>
      </p:sp>
      <p:sp>
        <p:nvSpPr>
          <p:cNvPr id="4" name="Nadpis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396841470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&amp;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en-US" noProof="0"/>
              <a:t>S15 | 08.06.2023 | Future city tech | VTO | Miroslav Holan</a:t>
            </a:r>
            <a:endParaRPr lang="cs-CZ" noProof="0"/>
          </a:p>
        </p:txBody>
      </p:sp>
      <p:sp>
        <p:nvSpPr>
          <p:cNvPr id="6" name="Zástupný symbol pro obrázek 10">
            <a:extLst>
              <a:ext uri="{FF2B5EF4-FFF2-40B4-BE49-F238E27FC236}">
                <a16:creationId xmlns:a16="http://schemas.microsoft.com/office/drawing/2014/main" id="{D342297C-903D-33B7-EE74-B657A96671C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0691813" cy="5346700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Obrázek</a:t>
            </a:r>
          </a:p>
        </p:txBody>
      </p:sp>
    </p:spTree>
    <p:extLst>
      <p:ext uri="{BB962C8B-B14F-4D97-AF65-F5344CB8AC3E}">
        <p14:creationId xmlns:p14="http://schemas.microsoft.com/office/powerpoint/2010/main" val="303645390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en-US" noProof="0"/>
              <a:t>S15 | 08.06.2023 | Future city tech | VTO | Miroslav Holan</a:t>
            </a:r>
            <a:endParaRPr lang="cs-CZ" noProof="0"/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449263" y="900000"/>
            <a:ext cx="9793288" cy="4446700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Obrázek</a:t>
            </a:r>
          </a:p>
        </p:txBody>
      </p:sp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28998053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4877CB86-63EE-5524-5FB8-600E3F90AAAF}"/>
              </a:ext>
            </a:extLst>
          </p:cNvPr>
          <p:cNvSpPr/>
          <p:nvPr userDrawn="1"/>
        </p:nvSpPr>
        <p:spPr>
          <a:xfrm>
            <a:off x="0" y="0"/>
            <a:ext cx="6228000" cy="6011863"/>
          </a:xfrm>
          <a:custGeom>
            <a:avLst/>
            <a:gdLst>
              <a:gd name="connsiteX0" fmla="*/ 0 w 6228000"/>
              <a:gd name="connsiteY0" fmla="*/ 0 h 6011863"/>
              <a:gd name="connsiteX1" fmla="*/ 6228000 w 6228000"/>
              <a:gd name="connsiteY1" fmla="*/ 0 h 6011863"/>
              <a:gd name="connsiteX2" fmla="*/ 6228000 w 6228000"/>
              <a:gd name="connsiteY2" fmla="*/ 6011863 h 6011863"/>
              <a:gd name="connsiteX3" fmla="*/ 0 w 6228000"/>
              <a:gd name="connsiteY3" fmla="*/ 6011863 h 6011863"/>
              <a:gd name="connsiteX4" fmla="*/ 0 w 6228000"/>
              <a:gd name="connsiteY4" fmla="*/ 0 h 6011863"/>
              <a:gd name="connsiteX0" fmla="*/ 0 w 6228000"/>
              <a:gd name="connsiteY0" fmla="*/ 0 h 6011863"/>
              <a:gd name="connsiteX1" fmla="*/ 6228000 w 6228000"/>
              <a:gd name="connsiteY1" fmla="*/ 0 h 6011863"/>
              <a:gd name="connsiteX2" fmla="*/ 4608750 w 6228000"/>
              <a:gd name="connsiteY2" fmla="*/ 6011863 h 6011863"/>
              <a:gd name="connsiteX3" fmla="*/ 0 w 6228000"/>
              <a:gd name="connsiteY3" fmla="*/ 6011863 h 6011863"/>
              <a:gd name="connsiteX4" fmla="*/ 0 w 6228000"/>
              <a:gd name="connsiteY4" fmla="*/ 0 h 6011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28000" h="6011863">
                <a:moveTo>
                  <a:pt x="0" y="0"/>
                </a:moveTo>
                <a:lnTo>
                  <a:pt x="6228000" y="0"/>
                </a:lnTo>
                <a:lnTo>
                  <a:pt x="4608750" y="6011863"/>
                </a:lnTo>
                <a:lnTo>
                  <a:pt x="0" y="601186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noProof="0"/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75261AE5-0C5F-B1E3-2914-16679B5E7F82}"/>
              </a:ext>
            </a:extLst>
          </p:cNvPr>
          <p:cNvSpPr/>
          <p:nvPr userDrawn="1"/>
        </p:nvSpPr>
        <p:spPr>
          <a:xfrm>
            <a:off x="6803813" y="4247863"/>
            <a:ext cx="3888000" cy="1764000"/>
          </a:xfrm>
          <a:custGeom>
            <a:avLst/>
            <a:gdLst>
              <a:gd name="connsiteX0" fmla="*/ 0 w 3888000"/>
              <a:gd name="connsiteY0" fmla="*/ 0 h 1764000"/>
              <a:gd name="connsiteX1" fmla="*/ 3888000 w 3888000"/>
              <a:gd name="connsiteY1" fmla="*/ 0 h 1764000"/>
              <a:gd name="connsiteX2" fmla="*/ 3888000 w 3888000"/>
              <a:gd name="connsiteY2" fmla="*/ 1764000 h 1764000"/>
              <a:gd name="connsiteX3" fmla="*/ 0 w 3888000"/>
              <a:gd name="connsiteY3" fmla="*/ 1764000 h 1764000"/>
              <a:gd name="connsiteX4" fmla="*/ 0 w 3888000"/>
              <a:gd name="connsiteY4" fmla="*/ 0 h 1764000"/>
              <a:gd name="connsiteX0" fmla="*/ 0 w 3888000"/>
              <a:gd name="connsiteY0" fmla="*/ 0 h 1764000"/>
              <a:gd name="connsiteX1" fmla="*/ 3888000 w 3888000"/>
              <a:gd name="connsiteY1" fmla="*/ 0 h 1764000"/>
              <a:gd name="connsiteX2" fmla="*/ 3888000 w 3888000"/>
              <a:gd name="connsiteY2" fmla="*/ 1764000 h 1764000"/>
              <a:gd name="connsiteX3" fmla="*/ 0 w 3888000"/>
              <a:gd name="connsiteY3" fmla="*/ 1764000 h 1764000"/>
              <a:gd name="connsiteX4" fmla="*/ 0 w 3888000"/>
              <a:gd name="connsiteY4" fmla="*/ 0 h 1764000"/>
              <a:gd name="connsiteX0" fmla="*/ 0 w 3888000"/>
              <a:gd name="connsiteY0" fmla="*/ 0 h 1764000"/>
              <a:gd name="connsiteX1" fmla="*/ 3888000 w 3888000"/>
              <a:gd name="connsiteY1" fmla="*/ 0 h 1764000"/>
              <a:gd name="connsiteX2" fmla="*/ 3888000 w 3888000"/>
              <a:gd name="connsiteY2" fmla="*/ 1764000 h 1764000"/>
              <a:gd name="connsiteX3" fmla="*/ 0 w 3888000"/>
              <a:gd name="connsiteY3" fmla="*/ 1764000 h 1764000"/>
              <a:gd name="connsiteX4" fmla="*/ 0 w 3888000"/>
              <a:gd name="connsiteY4" fmla="*/ 0 h 1764000"/>
              <a:gd name="connsiteX0" fmla="*/ 0 w 3888000"/>
              <a:gd name="connsiteY0" fmla="*/ 0 h 1764000"/>
              <a:gd name="connsiteX1" fmla="*/ 3888000 w 3888000"/>
              <a:gd name="connsiteY1" fmla="*/ 0 h 1764000"/>
              <a:gd name="connsiteX2" fmla="*/ 3888000 w 3888000"/>
              <a:gd name="connsiteY2" fmla="*/ 1764000 h 1764000"/>
              <a:gd name="connsiteX3" fmla="*/ 0 w 3888000"/>
              <a:gd name="connsiteY3" fmla="*/ 1764000 h 1764000"/>
              <a:gd name="connsiteX4" fmla="*/ 0 w 3888000"/>
              <a:gd name="connsiteY4" fmla="*/ 0 h 1764000"/>
              <a:gd name="connsiteX0" fmla="*/ 0 w 3888000"/>
              <a:gd name="connsiteY0" fmla="*/ 1764000 h 1764000"/>
              <a:gd name="connsiteX1" fmla="*/ 3888000 w 3888000"/>
              <a:gd name="connsiteY1" fmla="*/ 0 h 1764000"/>
              <a:gd name="connsiteX2" fmla="*/ 3888000 w 3888000"/>
              <a:gd name="connsiteY2" fmla="*/ 1764000 h 1764000"/>
              <a:gd name="connsiteX3" fmla="*/ 0 w 3888000"/>
              <a:gd name="connsiteY3" fmla="*/ 1764000 h 176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88000" h="1764000">
                <a:moveTo>
                  <a:pt x="0" y="1764000"/>
                </a:moveTo>
                <a:lnTo>
                  <a:pt x="3888000" y="0"/>
                </a:lnTo>
                <a:lnTo>
                  <a:pt x="3888000" y="1764000"/>
                </a:lnTo>
                <a:lnTo>
                  <a:pt x="0" y="1764000"/>
                </a:lnTo>
                <a:close/>
              </a:path>
            </a:pathLst>
          </a:cu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noProof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2D0ACEC7-B8BE-6CF6-F447-BD72724DF43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601394" y="0"/>
            <a:ext cx="6090650" cy="6011863"/>
          </a:xfrm>
          <a:custGeom>
            <a:avLst/>
            <a:gdLst>
              <a:gd name="connsiteX0" fmla="*/ 1634355 w 6100763"/>
              <a:gd name="connsiteY0" fmla="*/ 0 h 6011863"/>
              <a:gd name="connsiteX1" fmla="*/ 6100763 w 6100763"/>
              <a:gd name="connsiteY1" fmla="*/ 0 h 6011863"/>
              <a:gd name="connsiteX2" fmla="*/ 6100763 w 6100763"/>
              <a:gd name="connsiteY2" fmla="*/ 4252625 h 6011863"/>
              <a:gd name="connsiteX3" fmla="*/ 2215144 w 6100763"/>
              <a:gd name="connsiteY3" fmla="*/ 6011863 h 6011863"/>
              <a:gd name="connsiteX4" fmla="*/ 0 w 6100763"/>
              <a:gd name="connsiteY4" fmla="*/ 6011863 h 6011863"/>
              <a:gd name="connsiteX5" fmla="*/ 0 w 6100763"/>
              <a:gd name="connsiteY5" fmla="*/ 6011862 h 6011863"/>
              <a:gd name="connsiteX6" fmla="*/ 15106 w 6100763"/>
              <a:gd name="connsiteY6" fmla="*/ 6011862 h 6011863"/>
              <a:gd name="connsiteX0" fmla="*/ 1634355 w 6100763"/>
              <a:gd name="connsiteY0" fmla="*/ 0 h 6011863"/>
              <a:gd name="connsiteX1" fmla="*/ 6100763 w 6100763"/>
              <a:gd name="connsiteY1" fmla="*/ 0 h 6011863"/>
              <a:gd name="connsiteX2" fmla="*/ 6100763 w 6100763"/>
              <a:gd name="connsiteY2" fmla="*/ 4252625 h 6011863"/>
              <a:gd name="connsiteX3" fmla="*/ 2219907 w 6100763"/>
              <a:gd name="connsiteY3" fmla="*/ 6011863 h 6011863"/>
              <a:gd name="connsiteX4" fmla="*/ 0 w 6100763"/>
              <a:gd name="connsiteY4" fmla="*/ 6011863 h 6011863"/>
              <a:gd name="connsiteX5" fmla="*/ 0 w 6100763"/>
              <a:gd name="connsiteY5" fmla="*/ 6011862 h 6011863"/>
              <a:gd name="connsiteX6" fmla="*/ 15106 w 6100763"/>
              <a:gd name="connsiteY6" fmla="*/ 6011862 h 6011863"/>
              <a:gd name="connsiteX7" fmla="*/ 1634355 w 6100763"/>
              <a:gd name="connsiteY7" fmla="*/ 0 h 6011863"/>
              <a:gd name="connsiteX0" fmla="*/ 1634355 w 6100763"/>
              <a:gd name="connsiteY0" fmla="*/ 0 h 6011863"/>
              <a:gd name="connsiteX1" fmla="*/ 6100763 w 6100763"/>
              <a:gd name="connsiteY1" fmla="*/ 0 h 6011863"/>
              <a:gd name="connsiteX2" fmla="*/ 6098382 w 6100763"/>
              <a:gd name="connsiteY2" fmla="*/ 4257388 h 6011863"/>
              <a:gd name="connsiteX3" fmla="*/ 2219907 w 6100763"/>
              <a:gd name="connsiteY3" fmla="*/ 6011863 h 6011863"/>
              <a:gd name="connsiteX4" fmla="*/ 0 w 6100763"/>
              <a:gd name="connsiteY4" fmla="*/ 6011863 h 6011863"/>
              <a:gd name="connsiteX5" fmla="*/ 0 w 6100763"/>
              <a:gd name="connsiteY5" fmla="*/ 6011862 h 6011863"/>
              <a:gd name="connsiteX6" fmla="*/ 15106 w 6100763"/>
              <a:gd name="connsiteY6" fmla="*/ 6011862 h 6011863"/>
              <a:gd name="connsiteX7" fmla="*/ 1634355 w 6100763"/>
              <a:gd name="connsiteY7" fmla="*/ 0 h 6011863"/>
              <a:gd name="connsiteX0" fmla="*/ 1634355 w 6100993"/>
              <a:gd name="connsiteY0" fmla="*/ 0 h 6011863"/>
              <a:gd name="connsiteX1" fmla="*/ 6100763 w 6100993"/>
              <a:gd name="connsiteY1" fmla="*/ 0 h 6011863"/>
              <a:gd name="connsiteX2" fmla="*/ 6100764 w 6100993"/>
              <a:gd name="connsiteY2" fmla="*/ 4255007 h 6011863"/>
              <a:gd name="connsiteX3" fmla="*/ 2219907 w 6100993"/>
              <a:gd name="connsiteY3" fmla="*/ 6011863 h 6011863"/>
              <a:gd name="connsiteX4" fmla="*/ 0 w 6100993"/>
              <a:gd name="connsiteY4" fmla="*/ 6011863 h 6011863"/>
              <a:gd name="connsiteX5" fmla="*/ 0 w 6100993"/>
              <a:gd name="connsiteY5" fmla="*/ 6011862 h 6011863"/>
              <a:gd name="connsiteX6" fmla="*/ 15106 w 6100993"/>
              <a:gd name="connsiteY6" fmla="*/ 6011862 h 6011863"/>
              <a:gd name="connsiteX7" fmla="*/ 1634355 w 6100993"/>
              <a:gd name="connsiteY7" fmla="*/ 0 h 6011863"/>
              <a:gd name="connsiteX0" fmla="*/ 1634355 w 6100993"/>
              <a:gd name="connsiteY0" fmla="*/ 0 h 6011863"/>
              <a:gd name="connsiteX1" fmla="*/ 6100763 w 6100993"/>
              <a:gd name="connsiteY1" fmla="*/ 0 h 6011863"/>
              <a:gd name="connsiteX2" fmla="*/ 6100764 w 6100993"/>
              <a:gd name="connsiteY2" fmla="*/ 4252626 h 6011863"/>
              <a:gd name="connsiteX3" fmla="*/ 2219907 w 6100993"/>
              <a:gd name="connsiteY3" fmla="*/ 6011863 h 6011863"/>
              <a:gd name="connsiteX4" fmla="*/ 0 w 6100993"/>
              <a:gd name="connsiteY4" fmla="*/ 6011863 h 6011863"/>
              <a:gd name="connsiteX5" fmla="*/ 0 w 6100993"/>
              <a:gd name="connsiteY5" fmla="*/ 6011862 h 6011863"/>
              <a:gd name="connsiteX6" fmla="*/ 15106 w 6100993"/>
              <a:gd name="connsiteY6" fmla="*/ 6011862 h 6011863"/>
              <a:gd name="connsiteX7" fmla="*/ 1634355 w 6100993"/>
              <a:gd name="connsiteY7" fmla="*/ 0 h 6011863"/>
              <a:gd name="connsiteX0" fmla="*/ 1634355 w 6100993"/>
              <a:gd name="connsiteY0" fmla="*/ 0 h 6011863"/>
              <a:gd name="connsiteX1" fmla="*/ 6100763 w 6100993"/>
              <a:gd name="connsiteY1" fmla="*/ 0 h 6011863"/>
              <a:gd name="connsiteX2" fmla="*/ 6100764 w 6100993"/>
              <a:gd name="connsiteY2" fmla="*/ 4252626 h 6011863"/>
              <a:gd name="connsiteX3" fmla="*/ 2222288 w 6100993"/>
              <a:gd name="connsiteY3" fmla="*/ 6011863 h 6011863"/>
              <a:gd name="connsiteX4" fmla="*/ 0 w 6100993"/>
              <a:gd name="connsiteY4" fmla="*/ 6011863 h 6011863"/>
              <a:gd name="connsiteX5" fmla="*/ 0 w 6100993"/>
              <a:gd name="connsiteY5" fmla="*/ 6011862 h 6011863"/>
              <a:gd name="connsiteX6" fmla="*/ 15106 w 6100993"/>
              <a:gd name="connsiteY6" fmla="*/ 6011862 h 6011863"/>
              <a:gd name="connsiteX7" fmla="*/ 1634355 w 6100993"/>
              <a:gd name="connsiteY7" fmla="*/ 0 h 6011863"/>
              <a:gd name="connsiteX0" fmla="*/ 1634355 w 6100993"/>
              <a:gd name="connsiteY0" fmla="*/ 0 h 6011863"/>
              <a:gd name="connsiteX1" fmla="*/ 6100763 w 6100993"/>
              <a:gd name="connsiteY1" fmla="*/ 0 h 6011863"/>
              <a:gd name="connsiteX2" fmla="*/ 6100764 w 6100993"/>
              <a:gd name="connsiteY2" fmla="*/ 4252626 h 6011863"/>
              <a:gd name="connsiteX3" fmla="*/ 2222288 w 6100993"/>
              <a:gd name="connsiteY3" fmla="*/ 6011863 h 6011863"/>
              <a:gd name="connsiteX4" fmla="*/ 0 w 6100993"/>
              <a:gd name="connsiteY4" fmla="*/ 6011863 h 6011863"/>
              <a:gd name="connsiteX5" fmla="*/ 0 w 6100993"/>
              <a:gd name="connsiteY5" fmla="*/ 6011862 h 6011863"/>
              <a:gd name="connsiteX6" fmla="*/ 10343 w 6100993"/>
              <a:gd name="connsiteY6" fmla="*/ 6011862 h 6011863"/>
              <a:gd name="connsiteX7" fmla="*/ 1634355 w 6100993"/>
              <a:gd name="connsiteY7" fmla="*/ 0 h 6011863"/>
              <a:gd name="connsiteX0" fmla="*/ 1831999 w 6298637"/>
              <a:gd name="connsiteY0" fmla="*/ 0 h 6090443"/>
              <a:gd name="connsiteX1" fmla="*/ 6298407 w 6298637"/>
              <a:gd name="connsiteY1" fmla="*/ 0 h 6090443"/>
              <a:gd name="connsiteX2" fmla="*/ 6298408 w 6298637"/>
              <a:gd name="connsiteY2" fmla="*/ 4252626 h 6090443"/>
              <a:gd name="connsiteX3" fmla="*/ 2419932 w 6298637"/>
              <a:gd name="connsiteY3" fmla="*/ 6011863 h 6090443"/>
              <a:gd name="connsiteX4" fmla="*/ 197644 w 6298637"/>
              <a:gd name="connsiteY4" fmla="*/ 6011863 h 6090443"/>
              <a:gd name="connsiteX5" fmla="*/ 0 w 6298637"/>
              <a:gd name="connsiteY5" fmla="*/ 6090443 h 6090443"/>
              <a:gd name="connsiteX6" fmla="*/ 207987 w 6298637"/>
              <a:gd name="connsiteY6" fmla="*/ 6011862 h 6090443"/>
              <a:gd name="connsiteX7" fmla="*/ 1831999 w 6298637"/>
              <a:gd name="connsiteY7" fmla="*/ 0 h 6090443"/>
              <a:gd name="connsiteX0" fmla="*/ 1831999 w 6298637"/>
              <a:gd name="connsiteY0" fmla="*/ 0 h 6090443"/>
              <a:gd name="connsiteX1" fmla="*/ 6298407 w 6298637"/>
              <a:gd name="connsiteY1" fmla="*/ 0 h 6090443"/>
              <a:gd name="connsiteX2" fmla="*/ 6298408 w 6298637"/>
              <a:gd name="connsiteY2" fmla="*/ 4252626 h 6090443"/>
              <a:gd name="connsiteX3" fmla="*/ 2419932 w 6298637"/>
              <a:gd name="connsiteY3" fmla="*/ 6011863 h 6090443"/>
              <a:gd name="connsiteX4" fmla="*/ 52388 w 6298637"/>
              <a:gd name="connsiteY4" fmla="*/ 5957094 h 6090443"/>
              <a:gd name="connsiteX5" fmla="*/ 0 w 6298637"/>
              <a:gd name="connsiteY5" fmla="*/ 6090443 h 6090443"/>
              <a:gd name="connsiteX6" fmla="*/ 207987 w 6298637"/>
              <a:gd name="connsiteY6" fmla="*/ 6011862 h 6090443"/>
              <a:gd name="connsiteX7" fmla="*/ 1831999 w 6298637"/>
              <a:gd name="connsiteY7" fmla="*/ 0 h 6090443"/>
              <a:gd name="connsiteX0" fmla="*/ 1831999 w 6298637"/>
              <a:gd name="connsiteY0" fmla="*/ 0 h 6090443"/>
              <a:gd name="connsiteX1" fmla="*/ 6298407 w 6298637"/>
              <a:gd name="connsiteY1" fmla="*/ 0 h 6090443"/>
              <a:gd name="connsiteX2" fmla="*/ 6298408 w 6298637"/>
              <a:gd name="connsiteY2" fmla="*/ 4252626 h 6090443"/>
              <a:gd name="connsiteX3" fmla="*/ 2419932 w 6298637"/>
              <a:gd name="connsiteY3" fmla="*/ 6011863 h 6090443"/>
              <a:gd name="connsiteX4" fmla="*/ 0 w 6298637"/>
              <a:gd name="connsiteY4" fmla="*/ 6090443 h 6090443"/>
              <a:gd name="connsiteX5" fmla="*/ 207987 w 6298637"/>
              <a:gd name="connsiteY5" fmla="*/ 6011862 h 6090443"/>
              <a:gd name="connsiteX6" fmla="*/ 1831999 w 6298637"/>
              <a:gd name="connsiteY6" fmla="*/ 0 h 6090443"/>
              <a:gd name="connsiteX0" fmla="*/ 1624012 w 6090650"/>
              <a:gd name="connsiteY0" fmla="*/ 0 h 6011863"/>
              <a:gd name="connsiteX1" fmla="*/ 6090420 w 6090650"/>
              <a:gd name="connsiteY1" fmla="*/ 0 h 6011863"/>
              <a:gd name="connsiteX2" fmla="*/ 6090421 w 6090650"/>
              <a:gd name="connsiteY2" fmla="*/ 4252626 h 6011863"/>
              <a:gd name="connsiteX3" fmla="*/ 2211945 w 6090650"/>
              <a:gd name="connsiteY3" fmla="*/ 6011863 h 6011863"/>
              <a:gd name="connsiteX4" fmla="*/ 0 w 6090650"/>
              <a:gd name="connsiteY4" fmla="*/ 6011862 h 6011863"/>
              <a:gd name="connsiteX5" fmla="*/ 1624012 w 6090650"/>
              <a:gd name="connsiteY5" fmla="*/ 0 h 6011863"/>
              <a:gd name="connsiteX0" fmla="*/ 1621630 w 6090650"/>
              <a:gd name="connsiteY0" fmla="*/ 0 h 6011863"/>
              <a:gd name="connsiteX1" fmla="*/ 6090420 w 6090650"/>
              <a:gd name="connsiteY1" fmla="*/ 0 h 6011863"/>
              <a:gd name="connsiteX2" fmla="*/ 6090421 w 6090650"/>
              <a:gd name="connsiteY2" fmla="*/ 4252626 h 6011863"/>
              <a:gd name="connsiteX3" fmla="*/ 2211945 w 6090650"/>
              <a:gd name="connsiteY3" fmla="*/ 6011863 h 6011863"/>
              <a:gd name="connsiteX4" fmla="*/ 0 w 6090650"/>
              <a:gd name="connsiteY4" fmla="*/ 6011862 h 6011863"/>
              <a:gd name="connsiteX5" fmla="*/ 1621630 w 6090650"/>
              <a:gd name="connsiteY5" fmla="*/ 0 h 6011863"/>
              <a:gd name="connsiteX0" fmla="*/ 1621630 w 6090650"/>
              <a:gd name="connsiteY0" fmla="*/ 0 h 6014244"/>
              <a:gd name="connsiteX1" fmla="*/ 6090420 w 6090650"/>
              <a:gd name="connsiteY1" fmla="*/ 2381 h 6014244"/>
              <a:gd name="connsiteX2" fmla="*/ 6090421 w 6090650"/>
              <a:gd name="connsiteY2" fmla="*/ 4255007 h 6014244"/>
              <a:gd name="connsiteX3" fmla="*/ 2211945 w 6090650"/>
              <a:gd name="connsiteY3" fmla="*/ 6014244 h 6014244"/>
              <a:gd name="connsiteX4" fmla="*/ 0 w 6090650"/>
              <a:gd name="connsiteY4" fmla="*/ 6014243 h 6014244"/>
              <a:gd name="connsiteX5" fmla="*/ 1621630 w 6090650"/>
              <a:gd name="connsiteY5" fmla="*/ 0 h 6014244"/>
              <a:gd name="connsiteX0" fmla="*/ 1621630 w 6090650"/>
              <a:gd name="connsiteY0" fmla="*/ 0 h 6011863"/>
              <a:gd name="connsiteX1" fmla="*/ 6090420 w 6090650"/>
              <a:gd name="connsiteY1" fmla="*/ 0 h 6011863"/>
              <a:gd name="connsiteX2" fmla="*/ 6090421 w 6090650"/>
              <a:gd name="connsiteY2" fmla="*/ 4252626 h 6011863"/>
              <a:gd name="connsiteX3" fmla="*/ 2211945 w 6090650"/>
              <a:gd name="connsiteY3" fmla="*/ 6011863 h 6011863"/>
              <a:gd name="connsiteX4" fmla="*/ 0 w 6090650"/>
              <a:gd name="connsiteY4" fmla="*/ 6011862 h 6011863"/>
              <a:gd name="connsiteX5" fmla="*/ 1621630 w 6090650"/>
              <a:gd name="connsiteY5" fmla="*/ 0 h 6011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0650" h="6011863">
                <a:moveTo>
                  <a:pt x="1621630" y="0"/>
                </a:moveTo>
                <a:lnTo>
                  <a:pt x="6090420" y="0"/>
                </a:lnTo>
                <a:cubicBezTo>
                  <a:pt x="6089626" y="1419129"/>
                  <a:pt x="6091215" y="2833497"/>
                  <a:pt x="6090421" y="4252626"/>
                </a:cubicBezTo>
                <a:lnTo>
                  <a:pt x="2211945" y="6011863"/>
                </a:lnTo>
                <a:lnTo>
                  <a:pt x="0" y="6011862"/>
                </a:lnTo>
                <a:lnTo>
                  <a:pt x="1621630" y="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 algn="ctr"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264"/>
          <a:ext cx="1587" cy="12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9" imgH="398" progId="TCLayout.ActiveDocument.1">
                  <p:embed/>
                </p:oleObj>
              </mc:Choice>
              <mc:Fallback>
                <p:oleObj name="think-cell Slide" r:id="rId4" imgW="399" imgH="39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264"/>
                        <a:ext cx="1587" cy="12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Graphic 1">
            <a:extLst>
              <a:ext uri="{FF2B5EF4-FFF2-40B4-BE49-F238E27FC236}">
                <a16:creationId xmlns:a16="http://schemas.microsoft.com/office/drawing/2014/main" id="{E67FD83F-E254-90F2-3FE6-D2286BD6FAA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571122" y="5556311"/>
            <a:ext cx="1671428" cy="180000"/>
          </a:xfrm>
          <a:prstGeom prst="rect">
            <a:avLst/>
          </a:prstGeom>
        </p:spPr>
      </p:pic>
      <p:sp>
        <p:nvSpPr>
          <p:cNvPr id="7" name="Nadpis 6"/>
          <p:cNvSpPr>
            <a:spLocks noGrp="1"/>
          </p:cNvSpPr>
          <p:nvPr userDrawn="1">
            <p:ph type="title" hasCustomPrompt="1"/>
          </p:nvPr>
        </p:nvSpPr>
        <p:spPr>
          <a:xfrm>
            <a:off x="449263" y="396000"/>
            <a:ext cx="4968876" cy="1403760"/>
          </a:xfrm>
        </p:spPr>
        <p:txBody>
          <a:bodyPr anchor="t" anchorCtr="0">
            <a:noAutofit/>
          </a:bodyPr>
          <a:lstStyle>
            <a:lvl1pPr>
              <a:lnSpc>
                <a:spcPts val="6000"/>
              </a:lnSpc>
              <a:defRPr sz="6000" b="0" cap="none" baseline="0">
                <a:solidFill>
                  <a:schemeClr val="accent2"/>
                </a:solidFill>
                <a:latin typeface="SKODA Next Light" panose="020B0304020603020204" pitchFamily="34" charset="0"/>
              </a:defRPr>
            </a:lvl1pPr>
          </a:lstStyle>
          <a:p>
            <a:r>
              <a:rPr lang="cs-CZ" noProof="0"/>
              <a:t>Název</a:t>
            </a:r>
            <a:br>
              <a:rPr lang="cs-CZ" noProof="0"/>
            </a:br>
            <a:r>
              <a:rPr lang="cs-CZ" noProof="0"/>
              <a:t>prezentace</a:t>
            </a:r>
          </a:p>
        </p:txBody>
      </p:sp>
      <p:sp>
        <p:nvSpPr>
          <p:cNvPr id="19" name="Zástupný symbol pro text 18"/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449263" y="2051999"/>
            <a:ext cx="4824412" cy="1350013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Font typeface="Arial" panose="020B0604020202020204" pitchFamily="34" charset="0"/>
              <a:buNone/>
              <a:defRPr sz="2200">
                <a:solidFill>
                  <a:schemeClr val="accent2"/>
                </a:solidFill>
                <a:latin typeface="SKODA Next Light" panose="020B0304020603020204" pitchFamily="34" charset="0"/>
              </a:defRPr>
            </a:lvl1pPr>
          </a:lstStyle>
          <a:p>
            <a:pPr lvl="0"/>
            <a:r>
              <a:rPr lang="cs-CZ" noProof="0"/>
              <a:t>Dodatečné informace</a:t>
            </a:r>
          </a:p>
        </p:txBody>
      </p:sp>
      <p:sp>
        <p:nvSpPr>
          <p:cNvPr id="16" name="Zástupný symbol pro číslo snímku 5"/>
          <p:cNvSpPr>
            <a:spLocks noGrp="1"/>
          </p:cNvSpPr>
          <p:nvPr userDrawn="1">
            <p:ph type="sldNum" sz="quarter" idx="10"/>
          </p:nvPr>
        </p:nvSpPr>
        <p:spPr>
          <a:xfrm>
            <a:off x="449263" y="5778000"/>
            <a:ext cx="269960" cy="180000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22" name="Zástupný symbol pro zápatí 6"/>
          <p:cNvSpPr>
            <a:spLocks noGrp="1"/>
          </p:cNvSpPr>
          <p:nvPr userDrawn="1">
            <p:ph type="ftr" sz="quarter" idx="11"/>
          </p:nvPr>
        </p:nvSpPr>
        <p:spPr>
          <a:xfrm>
            <a:off x="449262" y="5598000"/>
            <a:ext cx="7686737" cy="180000"/>
          </a:xfrm>
          <a:noFill/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GB" sz="1200" b="0" smtClean="0">
                <a:solidFill>
                  <a:schemeClr val="accent2"/>
                </a:solidFill>
                <a:effectLst/>
                <a:latin typeface="SKODA Next Light" panose="020B0304020603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noProof="0"/>
              <a:t>S15 | 08.06.2023 | Future city tech | VTO | Miroslav Holan</a:t>
            </a:r>
            <a:endParaRPr lang="cs-CZ" noProof="0"/>
          </a:p>
        </p:txBody>
      </p:sp>
    </p:spTree>
    <p:extLst>
      <p:ext uri="{BB962C8B-B14F-4D97-AF65-F5344CB8AC3E}">
        <p14:creationId xmlns:p14="http://schemas.microsoft.com/office/powerpoint/2010/main" val="242448332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ástupný symbol pro text 12">
            <a:extLst>
              <a:ext uri="{FF2B5EF4-FFF2-40B4-BE49-F238E27FC236}">
                <a16:creationId xmlns:a16="http://schemas.microsoft.com/office/drawing/2014/main" id="{A6B2640B-D782-F371-CA4F-1DE716E6430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263" y="3834000"/>
            <a:ext cx="3167934" cy="1512000"/>
          </a:xfrm>
        </p:spPr>
        <p:txBody>
          <a:bodyPr anchor="t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/>
              <a:t>Detaily</a:t>
            </a:r>
          </a:p>
        </p:txBody>
      </p:sp>
      <p:sp>
        <p:nvSpPr>
          <p:cNvPr id="10" name="Zástupný symbol pro text 12">
            <a:extLst>
              <a:ext uri="{FF2B5EF4-FFF2-40B4-BE49-F238E27FC236}">
                <a16:creationId xmlns:a16="http://schemas.microsoft.com/office/drawing/2014/main" id="{495C32C4-7CA1-C2BF-FBF5-BF42F7AD34D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62375" y="3834000"/>
            <a:ext cx="3167934" cy="1512000"/>
          </a:xfrm>
        </p:spPr>
        <p:txBody>
          <a:bodyPr anchor="t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/>
              <a:t>Detaily</a:t>
            </a:r>
          </a:p>
        </p:txBody>
      </p:sp>
      <p:sp>
        <p:nvSpPr>
          <p:cNvPr id="21" name="Zástupný symbol pro text 12">
            <a:extLst>
              <a:ext uri="{FF2B5EF4-FFF2-40B4-BE49-F238E27FC236}">
                <a16:creationId xmlns:a16="http://schemas.microsoft.com/office/drawing/2014/main" id="{F9F06556-A77B-B4AC-B11D-2942230DC96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073142" y="3834000"/>
            <a:ext cx="3167934" cy="1512000"/>
          </a:xfrm>
        </p:spPr>
        <p:txBody>
          <a:bodyPr anchor="t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/>
              <a:t>Detaily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en-US" noProof="0"/>
              <a:t>S15 | 08.06.2023 | Future city tech | VTO | Miroslav Holan</a:t>
            </a:r>
            <a:endParaRPr lang="cs-CZ" noProof="0"/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449979" y="1314449"/>
            <a:ext cx="3167934" cy="2087563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Obrázek</a:t>
            </a:r>
          </a:p>
        </p:txBody>
      </p:sp>
      <p:sp>
        <p:nvSpPr>
          <p:cNvPr id="13" name="Zástupný symbol pro text 12"/>
          <p:cNvSpPr>
            <a:spLocks noGrp="1"/>
          </p:cNvSpPr>
          <p:nvPr>
            <p:ph type="body" sz="quarter" idx="14" hasCustomPrompt="1"/>
          </p:nvPr>
        </p:nvSpPr>
        <p:spPr>
          <a:xfrm>
            <a:off x="450000" y="3510000"/>
            <a:ext cx="3167934" cy="216000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 b="1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/>
              <a:t>Titulek</a:t>
            </a:r>
          </a:p>
        </p:txBody>
      </p:sp>
      <p:sp>
        <p:nvSpPr>
          <p:cNvPr id="24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648000"/>
            <a:ext cx="9793287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/>
              <a:t>Podnadpis</a:t>
            </a:r>
          </a:p>
        </p:txBody>
      </p:sp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/>
              <a:t>Nadpis (shrnutí stránky)</a:t>
            </a:r>
          </a:p>
        </p:txBody>
      </p:sp>
      <p:sp>
        <p:nvSpPr>
          <p:cNvPr id="6" name="Zástupný symbol pro obrázek 10">
            <a:extLst>
              <a:ext uri="{FF2B5EF4-FFF2-40B4-BE49-F238E27FC236}">
                <a16:creationId xmlns:a16="http://schemas.microsoft.com/office/drawing/2014/main" id="{4D25A0D5-25EA-D8DF-CB51-891DE68E94D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763091" y="1314449"/>
            <a:ext cx="3167934" cy="2087563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Obrázek</a:t>
            </a:r>
          </a:p>
        </p:txBody>
      </p:sp>
      <p:sp>
        <p:nvSpPr>
          <p:cNvPr id="9" name="Zástupný symbol pro text 12">
            <a:extLst>
              <a:ext uri="{FF2B5EF4-FFF2-40B4-BE49-F238E27FC236}">
                <a16:creationId xmlns:a16="http://schemas.microsoft.com/office/drawing/2014/main" id="{7460970A-5969-77C3-EB7C-1FF997745C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763112" y="3510000"/>
            <a:ext cx="3167934" cy="216000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 b="1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/>
              <a:t>Titulek</a:t>
            </a:r>
          </a:p>
        </p:txBody>
      </p:sp>
      <p:sp>
        <p:nvSpPr>
          <p:cNvPr id="12" name="Zástupný symbol pro obrázek 10">
            <a:extLst>
              <a:ext uri="{FF2B5EF4-FFF2-40B4-BE49-F238E27FC236}">
                <a16:creationId xmlns:a16="http://schemas.microsoft.com/office/drawing/2014/main" id="{4E680B22-40D0-9296-B85E-0D1107B14EC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7073858" y="1314449"/>
            <a:ext cx="3167934" cy="2087563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Obrázek</a:t>
            </a:r>
          </a:p>
        </p:txBody>
      </p:sp>
      <p:sp>
        <p:nvSpPr>
          <p:cNvPr id="20" name="Zástupný symbol pro text 12">
            <a:extLst>
              <a:ext uri="{FF2B5EF4-FFF2-40B4-BE49-F238E27FC236}">
                <a16:creationId xmlns:a16="http://schemas.microsoft.com/office/drawing/2014/main" id="{4DE1D234-3B1E-4C6E-1E4D-8FA494E038D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073879" y="3510000"/>
            <a:ext cx="3167934" cy="216000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 b="1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/>
              <a:t>Titulek</a:t>
            </a:r>
          </a:p>
        </p:txBody>
      </p:sp>
    </p:spTree>
    <p:extLst>
      <p:ext uri="{BB962C8B-B14F-4D97-AF65-F5344CB8AC3E}">
        <p14:creationId xmlns:p14="http://schemas.microsoft.com/office/powerpoint/2010/main" val="46170321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tli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en-US" noProof="0"/>
              <a:t>S15 | 08.06.2023 | Future city tech | VTO | Miroslav Holan</a:t>
            </a:r>
            <a:endParaRPr lang="cs-CZ" noProof="0"/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449979" y="1314450"/>
            <a:ext cx="4823696" cy="1691100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Obrázek</a:t>
            </a:r>
          </a:p>
        </p:txBody>
      </p:sp>
      <p:sp>
        <p:nvSpPr>
          <p:cNvPr id="13" name="Zástupný symbol pro text 12"/>
          <p:cNvSpPr>
            <a:spLocks noGrp="1"/>
          </p:cNvSpPr>
          <p:nvPr>
            <p:ph type="body" sz="quarter" idx="14" hasCustomPrompt="1"/>
          </p:nvPr>
        </p:nvSpPr>
        <p:spPr>
          <a:xfrm>
            <a:off x="449979" y="3077550"/>
            <a:ext cx="4823696" cy="180000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/>
              <a:t>Titulek</a:t>
            </a:r>
          </a:p>
        </p:txBody>
      </p:sp>
      <p:sp>
        <p:nvSpPr>
          <p:cNvPr id="14" name="Zástupný symbol pro obrázek 10"/>
          <p:cNvSpPr>
            <a:spLocks noGrp="1"/>
          </p:cNvSpPr>
          <p:nvPr>
            <p:ph type="pic" sz="quarter" idx="15" hasCustomPrompt="1"/>
          </p:nvPr>
        </p:nvSpPr>
        <p:spPr>
          <a:xfrm>
            <a:off x="449263" y="3402900"/>
            <a:ext cx="4823696" cy="1691100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Obrázek</a:t>
            </a:r>
          </a:p>
        </p:txBody>
      </p:sp>
      <p:sp>
        <p:nvSpPr>
          <p:cNvPr id="15" name="Zástupný symbol pro text 12"/>
          <p:cNvSpPr>
            <a:spLocks noGrp="1"/>
          </p:cNvSpPr>
          <p:nvPr>
            <p:ph type="body" sz="quarter" idx="16" hasCustomPrompt="1"/>
          </p:nvPr>
        </p:nvSpPr>
        <p:spPr>
          <a:xfrm>
            <a:off x="449263" y="5166000"/>
            <a:ext cx="4823696" cy="180000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/>
              <a:t>Titulek</a:t>
            </a:r>
          </a:p>
        </p:txBody>
      </p:sp>
      <p:sp>
        <p:nvSpPr>
          <p:cNvPr id="16" name="Zástupný symbol pro obrázek 10"/>
          <p:cNvSpPr>
            <a:spLocks noGrp="1"/>
          </p:cNvSpPr>
          <p:nvPr>
            <p:ph type="pic" sz="quarter" idx="17" hasCustomPrompt="1"/>
          </p:nvPr>
        </p:nvSpPr>
        <p:spPr>
          <a:xfrm>
            <a:off x="5419570" y="1314450"/>
            <a:ext cx="4823696" cy="1691100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Obrázek</a:t>
            </a:r>
          </a:p>
        </p:txBody>
      </p:sp>
      <p:sp>
        <p:nvSpPr>
          <p:cNvPr id="17" name="Zástupný symbol pro text 12"/>
          <p:cNvSpPr>
            <a:spLocks noGrp="1"/>
          </p:cNvSpPr>
          <p:nvPr>
            <p:ph type="body" sz="quarter" idx="18" hasCustomPrompt="1"/>
          </p:nvPr>
        </p:nvSpPr>
        <p:spPr>
          <a:xfrm>
            <a:off x="5419570" y="3077550"/>
            <a:ext cx="4823696" cy="180000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/>
              <a:t>Titulek</a:t>
            </a:r>
          </a:p>
        </p:txBody>
      </p:sp>
      <p:sp>
        <p:nvSpPr>
          <p:cNvPr id="18" name="Zástupný symbol pro obrázek 10"/>
          <p:cNvSpPr>
            <a:spLocks noGrp="1"/>
          </p:cNvSpPr>
          <p:nvPr>
            <p:ph type="pic" sz="quarter" idx="19" hasCustomPrompt="1"/>
          </p:nvPr>
        </p:nvSpPr>
        <p:spPr>
          <a:xfrm>
            <a:off x="5418854" y="3402900"/>
            <a:ext cx="4823696" cy="1691100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Obrázek</a:t>
            </a:r>
          </a:p>
        </p:txBody>
      </p:sp>
      <p:sp>
        <p:nvSpPr>
          <p:cNvPr id="19" name="Zástupný symbol pro text 12"/>
          <p:cNvSpPr>
            <a:spLocks noGrp="1"/>
          </p:cNvSpPr>
          <p:nvPr>
            <p:ph type="body" sz="quarter" idx="20" hasCustomPrompt="1"/>
          </p:nvPr>
        </p:nvSpPr>
        <p:spPr>
          <a:xfrm>
            <a:off x="5418854" y="5166000"/>
            <a:ext cx="4823696" cy="180000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/>
              <a:t>Titulek</a:t>
            </a:r>
          </a:p>
        </p:txBody>
      </p:sp>
      <p:sp>
        <p:nvSpPr>
          <p:cNvPr id="24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648000"/>
            <a:ext cx="9793287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/>
              <a:t>Podnadpis</a:t>
            </a:r>
          </a:p>
        </p:txBody>
      </p:sp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28496875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pro číslo snímku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7" name="Zástupný symbol pro zápatí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en-US" noProof="0"/>
              <a:t>S15 | 08.06.2023 | Future city tech | VTO | Miroslav Holan</a:t>
            </a:r>
            <a:endParaRPr lang="cs-CZ" noProof="0"/>
          </a:p>
        </p:txBody>
      </p:sp>
      <p:sp>
        <p:nvSpPr>
          <p:cNvPr id="10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648000"/>
            <a:ext cx="9793288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/>
              <a:t>Podnadpis</a:t>
            </a:r>
          </a:p>
        </p:txBody>
      </p:sp>
      <p:sp>
        <p:nvSpPr>
          <p:cNvPr id="3" name="Nadpis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cs-CZ" noProof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7527760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Emeral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EE04D5E7-7402-1B77-3F07-B7B9A28ED3A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41200" y="5659200"/>
            <a:ext cx="1002857" cy="108000"/>
          </a:xfrm>
          <a:prstGeom prst="rect">
            <a:avLst/>
          </a:prstGeom>
        </p:spPr>
      </p:pic>
      <p:sp>
        <p:nvSpPr>
          <p:cNvPr id="6" name="Zástupný symbol pro číslo snímku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7" name="Zástupný symbol pro zápatí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  <a:latin typeface="SKODA Next" panose="020B0504020603020204" pitchFamily="34" charset="0"/>
              </a:defRPr>
            </a:lvl1pPr>
          </a:lstStyle>
          <a:p>
            <a:r>
              <a:rPr lang="en-US" noProof="0"/>
              <a:t>S15 | 08.06.2023 | Future city tech | VTO | Miroslav Holan</a:t>
            </a:r>
            <a:endParaRPr lang="cs-CZ" noProof="0"/>
          </a:p>
        </p:txBody>
      </p:sp>
      <p:sp>
        <p:nvSpPr>
          <p:cNvPr id="10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648000"/>
            <a:ext cx="9793288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cs-CZ" noProof="0"/>
              <a:t>Podnadpis</a:t>
            </a:r>
          </a:p>
        </p:txBody>
      </p:sp>
      <p:sp>
        <p:nvSpPr>
          <p:cNvPr id="3" name="Nadpis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accent2"/>
                </a:solidFill>
              </a:defRPr>
            </a:lvl1pPr>
          </a:lstStyle>
          <a:p>
            <a:r>
              <a:rPr lang="cs-CZ" noProof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207936796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Electric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CBC3C684-5239-0E95-9F6B-4AF6E908E5F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39693" y="5660476"/>
            <a:ext cx="1002857" cy="108000"/>
          </a:xfrm>
          <a:prstGeom prst="rect">
            <a:avLst/>
          </a:prstGeom>
        </p:spPr>
      </p:pic>
      <p:sp>
        <p:nvSpPr>
          <p:cNvPr id="6" name="Zástupný symbol pro číslo snímku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7" name="Zástupný symbol pro zápatí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en-US" noProof="0"/>
              <a:t>S15 | 08.06.2023 | Future city tech | VTO | Miroslav Holan</a:t>
            </a:r>
            <a:endParaRPr lang="cs-CZ" noProof="0"/>
          </a:p>
        </p:txBody>
      </p:sp>
      <p:sp>
        <p:nvSpPr>
          <p:cNvPr id="10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648000"/>
            <a:ext cx="9793288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cs-CZ" noProof="0"/>
              <a:t>Podnadpis</a:t>
            </a:r>
          </a:p>
        </p:txBody>
      </p:sp>
      <p:sp>
        <p:nvSpPr>
          <p:cNvPr id="3" name="Nadpis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cs-CZ" noProof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101043272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Grey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pro číslo snímku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7" name="Zástupný symbol pro zápatí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en-US" noProof="0"/>
              <a:t>S15 | 08.06.2023 | Future city tech | VTO | Miroslav Holan</a:t>
            </a:r>
            <a:endParaRPr lang="cs-CZ" noProof="0"/>
          </a:p>
        </p:txBody>
      </p:sp>
      <p:sp>
        <p:nvSpPr>
          <p:cNvPr id="10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648000"/>
            <a:ext cx="9793288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/>
              <a:t>Podnadpis</a:t>
            </a:r>
          </a:p>
        </p:txBody>
      </p:sp>
      <p:sp>
        <p:nvSpPr>
          <p:cNvPr id="3" name="Nadpis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cs-CZ" noProof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386176323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pro číslo snímku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7" name="Zástupný symbol pro zápatí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en-US" noProof="0"/>
              <a:t>S15 | 08.06.2023 | Future city tech | VTO | Miroslav Holan</a:t>
            </a:r>
            <a:endParaRPr lang="cs-CZ" noProof="0"/>
          </a:p>
        </p:txBody>
      </p:sp>
      <p:sp>
        <p:nvSpPr>
          <p:cNvPr id="10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648000"/>
            <a:ext cx="9793288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cs-CZ" noProof="0"/>
              <a:t>Podnadpis</a:t>
            </a:r>
          </a:p>
        </p:txBody>
      </p:sp>
      <p:sp>
        <p:nvSpPr>
          <p:cNvPr id="3" name="Nadpis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cs-CZ" noProof="0"/>
              <a:t>Nadpis (shrnutí stránky)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276EAF78-408F-7294-6550-165223580FF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41200" y="5659200"/>
            <a:ext cx="1002857" cy="10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793214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Click to edit Master text styles</a:t>
            </a:r>
          </a:p>
          <a:p>
            <a:pPr lvl="1"/>
            <a:r>
              <a:rPr lang="cs-CZ"/>
              <a:t>Second level</a:t>
            </a:r>
          </a:p>
          <a:p>
            <a:pPr lvl="2"/>
            <a:r>
              <a:rPr lang="cs-CZ"/>
              <a:t>Third level</a:t>
            </a:r>
          </a:p>
          <a:p>
            <a:pPr lvl="3"/>
            <a:r>
              <a:rPr lang="cs-CZ"/>
              <a:t>Fourth level</a:t>
            </a:r>
          </a:p>
          <a:p>
            <a:pPr lvl="4"/>
            <a:r>
              <a:rPr lang="cs-CZ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15 | 08.06.2023 | Future city tech | VTO | Miroslav Hola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9243A6-B03B-F846-B79B-F97B7CF8FD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579305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Blank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21">
            <a:extLst>
              <a:ext uri="{FF2B5EF4-FFF2-40B4-BE49-F238E27FC236}">
                <a16:creationId xmlns:a16="http://schemas.microsoft.com/office/drawing/2014/main" id="{8A593AD7-1A80-0F40-9C39-D6440918BF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210790" y="168674"/>
            <a:ext cx="268340" cy="237970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lvl1pPr algn="r">
              <a:defRPr sz="526" b="1">
                <a:solidFill>
                  <a:schemeClr val="bg1">
                    <a:alpha val="50000"/>
                  </a:schemeClr>
                </a:solidFill>
                <a:latin typeface="+mj-lt"/>
              </a:defRPr>
            </a:lvl1pPr>
          </a:lstStyle>
          <a:p>
            <a:fld id="{D8D877B3-D348-4611-9BDB-C5374591D95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Line 4">
            <a:extLst>
              <a:ext uri="{FF2B5EF4-FFF2-40B4-BE49-F238E27FC236}">
                <a16:creationId xmlns:a16="http://schemas.microsoft.com/office/drawing/2014/main" id="{157D9516-FD42-4A44-9CEE-7C21EB1FAFC9}"/>
              </a:ext>
            </a:extLst>
          </p:cNvPr>
          <p:cNvSpPr/>
          <p:nvPr userDrawn="1"/>
        </p:nvSpPr>
        <p:spPr>
          <a:xfrm>
            <a:off x="10510332" y="287420"/>
            <a:ext cx="189106" cy="316"/>
          </a:xfrm>
          <a:prstGeom prst="line">
            <a:avLst/>
          </a:prstGeom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6" name="CustomShape 5">
            <a:extLst>
              <a:ext uri="{FF2B5EF4-FFF2-40B4-BE49-F238E27FC236}">
                <a16:creationId xmlns:a16="http://schemas.microsoft.com/office/drawing/2014/main" id="{0BDEEF12-9E48-1F49-96B2-CD32D98FD31D}"/>
              </a:ext>
            </a:extLst>
          </p:cNvPr>
          <p:cNvSpPr/>
          <p:nvPr userDrawn="1"/>
        </p:nvSpPr>
        <p:spPr>
          <a:xfrm>
            <a:off x="10544744" y="281109"/>
            <a:ext cx="157220" cy="8836"/>
          </a:xfrm>
          <a:prstGeom prst="rect">
            <a:avLst/>
          </a:prstGeom>
          <a:solidFill>
            <a:srgbClr val="FFFFFF">
              <a:alpha val="50000"/>
            </a:srgb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78896" tIns="39448" rIns="78896" bIns="39448" anchor="ctr"/>
          <a:lstStyle/>
          <a:p>
            <a:pPr algn="ctr">
              <a:lnSpc>
                <a:spcPct val="100000"/>
              </a:lnSpc>
            </a:pPr>
            <a:r>
              <a:rPr lang="cs-CZ" sz="1578" b="0" strike="noStrike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Arial"/>
                <a:ea typeface="DejaVu Sans"/>
              </a:rPr>
              <a:t> </a:t>
            </a:r>
            <a:endParaRPr lang="cs-CZ" sz="1578" b="0" strike="noStrike" spc="-1" dirty="0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9773158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BFF7A7E-2F88-BCC5-C055-008483D90682}"/>
              </a:ext>
            </a:extLst>
          </p:cNvPr>
          <p:cNvSpPr/>
          <p:nvPr userDrawn="1"/>
        </p:nvSpPr>
        <p:spPr>
          <a:xfrm>
            <a:off x="0" y="0"/>
            <a:ext cx="5220000" cy="1404000"/>
          </a:xfrm>
          <a:custGeom>
            <a:avLst/>
            <a:gdLst>
              <a:gd name="connsiteX0" fmla="*/ 0 w 5220000"/>
              <a:gd name="connsiteY0" fmla="*/ 0 h 1404000"/>
              <a:gd name="connsiteX1" fmla="*/ 5220000 w 5220000"/>
              <a:gd name="connsiteY1" fmla="*/ 0 h 1404000"/>
              <a:gd name="connsiteX2" fmla="*/ 5220000 w 5220000"/>
              <a:gd name="connsiteY2" fmla="*/ 1404000 h 1404000"/>
              <a:gd name="connsiteX3" fmla="*/ 0 w 5220000"/>
              <a:gd name="connsiteY3" fmla="*/ 1404000 h 1404000"/>
              <a:gd name="connsiteX4" fmla="*/ 0 w 5220000"/>
              <a:gd name="connsiteY4" fmla="*/ 0 h 1404000"/>
              <a:gd name="connsiteX0" fmla="*/ 0 w 5220000"/>
              <a:gd name="connsiteY0" fmla="*/ 0 h 1404000"/>
              <a:gd name="connsiteX1" fmla="*/ 5220000 w 5220000"/>
              <a:gd name="connsiteY1" fmla="*/ 0 h 1404000"/>
              <a:gd name="connsiteX2" fmla="*/ 5220000 w 5220000"/>
              <a:gd name="connsiteY2" fmla="*/ 1404000 h 1404000"/>
              <a:gd name="connsiteX3" fmla="*/ 0 w 5220000"/>
              <a:gd name="connsiteY3" fmla="*/ 1404000 h 1404000"/>
              <a:gd name="connsiteX4" fmla="*/ 0 w 5220000"/>
              <a:gd name="connsiteY4" fmla="*/ 0 h 1404000"/>
              <a:gd name="connsiteX0" fmla="*/ 0 w 5220000"/>
              <a:gd name="connsiteY0" fmla="*/ 0 h 1404000"/>
              <a:gd name="connsiteX1" fmla="*/ 5220000 w 5220000"/>
              <a:gd name="connsiteY1" fmla="*/ 0 h 1404000"/>
              <a:gd name="connsiteX2" fmla="*/ 0 w 5220000"/>
              <a:gd name="connsiteY2" fmla="*/ 1404000 h 1404000"/>
              <a:gd name="connsiteX3" fmla="*/ 0 w 5220000"/>
              <a:gd name="connsiteY3" fmla="*/ 0 h 140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20000" h="1404000">
                <a:moveTo>
                  <a:pt x="0" y="0"/>
                </a:moveTo>
                <a:lnTo>
                  <a:pt x="5220000" y="0"/>
                </a:lnTo>
                <a:lnTo>
                  <a:pt x="0" y="1404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25000"/>
              <a:lumOff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noProof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CBDC93D-8677-8F98-0413-5586CAD9ECEE}"/>
              </a:ext>
            </a:extLst>
          </p:cNvPr>
          <p:cNvSpPr/>
          <p:nvPr userDrawn="1"/>
        </p:nvSpPr>
        <p:spPr>
          <a:xfrm>
            <a:off x="8136000" y="0"/>
            <a:ext cx="2556000" cy="6011863"/>
          </a:xfrm>
          <a:custGeom>
            <a:avLst/>
            <a:gdLst>
              <a:gd name="connsiteX0" fmla="*/ 0 w 2556000"/>
              <a:gd name="connsiteY0" fmla="*/ 0 h 6011863"/>
              <a:gd name="connsiteX1" fmla="*/ 2556000 w 2556000"/>
              <a:gd name="connsiteY1" fmla="*/ 0 h 6011863"/>
              <a:gd name="connsiteX2" fmla="*/ 2556000 w 2556000"/>
              <a:gd name="connsiteY2" fmla="*/ 6011863 h 6011863"/>
              <a:gd name="connsiteX3" fmla="*/ 0 w 2556000"/>
              <a:gd name="connsiteY3" fmla="*/ 6011863 h 6011863"/>
              <a:gd name="connsiteX4" fmla="*/ 0 w 2556000"/>
              <a:gd name="connsiteY4" fmla="*/ 0 h 6011863"/>
              <a:gd name="connsiteX0" fmla="*/ 1600200 w 2556000"/>
              <a:gd name="connsiteY0" fmla="*/ 0 h 6011863"/>
              <a:gd name="connsiteX1" fmla="*/ 2556000 w 2556000"/>
              <a:gd name="connsiteY1" fmla="*/ 0 h 6011863"/>
              <a:gd name="connsiteX2" fmla="*/ 2556000 w 2556000"/>
              <a:gd name="connsiteY2" fmla="*/ 6011863 h 6011863"/>
              <a:gd name="connsiteX3" fmla="*/ 0 w 2556000"/>
              <a:gd name="connsiteY3" fmla="*/ 6011863 h 6011863"/>
              <a:gd name="connsiteX4" fmla="*/ 1600200 w 2556000"/>
              <a:gd name="connsiteY4" fmla="*/ 0 h 6011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56000" h="6011863">
                <a:moveTo>
                  <a:pt x="1600200" y="0"/>
                </a:moveTo>
                <a:lnTo>
                  <a:pt x="2556000" y="0"/>
                </a:lnTo>
                <a:lnTo>
                  <a:pt x="2556000" y="6011863"/>
                </a:lnTo>
                <a:lnTo>
                  <a:pt x="0" y="6011863"/>
                </a:lnTo>
                <a:lnTo>
                  <a:pt x="1600200" y="0"/>
                </a:lnTo>
                <a:close/>
              </a:path>
            </a:pathLst>
          </a:custGeom>
          <a:solidFill>
            <a:schemeClr val="accent1">
              <a:lumMod val="25000"/>
              <a:lumOff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noProof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576F2B00-11F9-05A7-0019-CDAB04333AB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571121" y="5558992"/>
            <a:ext cx="1671429" cy="180000"/>
          </a:xfrm>
          <a:prstGeom prst="rect">
            <a:avLst/>
          </a:prstGeom>
        </p:spPr>
      </p:pic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264"/>
          <a:ext cx="1587" cy="12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9" imgH="398" progId="TCLayout.ActiveDocument.1">
                  <p:embed/>
                </p:oleObj>
              </mc:Choice>
              <mc:Fallback>
                <p:oleObj name="think-cell Slide" r:id="rId5" imgW="399" imgH="398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264"/>
                        <a:ext cx="1587" cy="12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 userDrawn="1">
            <p:ph type="title" hasCustomPrompt="1"/>
          </p:nvPr>
        </p:nvSpPr>
        <p:spPr>
          <a:xfrm>
            <a:off x="449263" y="1314450"/>
            <a:ext cx="7686550" cy="4032250"/>
          </a:xfrm>
        </p:spPr>
        <p:txBody>
          <a:bodyPr anchor="b" anchorCtr="0">
            <a:noAutofit/>
          </a:bodyPr>
          <a:lstStyle>
            <a:lvl1pPr>
              <a:lnSpc>
                <a:spcPts val="6000"/>
              </a:lnSpc>
              <a:defRPr sz="6000" b="0" cap="none" baseline="0">
                <a:solidFill>
                  <a:schemeClr val="tx1"/>
                </a:solidFill>
                <a:latin typeface="SKODA Next Light" panose="020B0304020603020204" pitchFamily="34" charset="0"/>
              </a:defRPr>
            </a:lvl1pPr>
          </a:lstStyle>
          <a:p>
            <a:r>
              <a:rPr lang="cs-CZ" noProof="0"/>
              <a:t>Název</a:t>
            </a:r>
            <a:br>
              <a:rPr lang="cs-CZ" noProof="0"/>
            </a:br>
            <a:r>
              <a:rPr lang="cs-CZ" noProof="0"/>
              <a:t>prezentace</a:t>
            </a:r>
          </a:p>
        </p:txBody>
      </p:sp>
      <p:sp>
        <p:nvSpPr>
          <p:cNvPr id="16" name="Zástupný symbol pro číslo snímku 5"/>
          <p:cNvSpPr>
            <a:spLocks noGrp="1"/>
          </p:cNvSpPr>
          <p:nvPr userDrawn="1">
            <p:ph type="sldNum" sz="quarter" idx="10"/>
          </p:nvPr>
        </p:nvSpPr>
        <p:spPr>
          <a:xfrm>
            <a:off x="449263" y="5776670"/>
            <a:ext cx="269960" cy="180000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22" name="Zástupný symbol pro zápatí 6"/>
          <p:cNvSpPr>
            <a:spLocks noGrp="1"/>
          </p:cNvSpPr>
          <p:nvPr userDrawn="1">
            <p:ph type="ftr" sz="quarter" idx="11"/>
          </p:nvPr>
        </p:nvSpPr>
        <p:spPr>
          <a:xfrm>
            <a:off x="449262" y="5598000"/>
            <a:ext cx="7686737" cy="180000"/>
          </a:xfrm>
          <a:noFill/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1200" b="0" smtClean="0">
                <a:solidFill>
                  <a:schemeClr val="tx1"/>
                </a:solidFill>
                <a:effectLst/>
                <a:latin typeface="SKODA Next Light" panose="020B0304020603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noProof="0"/>
              <a:t>S15 | 08.06.2023 | Future city tech | VTO | Miroslav Holan</a:t>
            </a:r>
            <a:endParaRPr lang="cs-CZ" noProof="0"/>
          </a:p>
        </p:txBody>
      </p:sp>
    </p:spTree>
    <p:extLst>
      <p:ext uri="{BB962C8B-B14F-4D97-AF65-F5344CB8AC3E}">
        <p14:creationId xmlns:p14="http://schemas.microsoft.com/office/powerpoint/2010/main" val="123666647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387D75E-1DB6-CCAA-28E8-1DCBFB939DCB}"/>
              </a:ext>
            </a:extLst>
          </p:cNvPr>
          <p:cNvSpPr/>
          <p:nvPr userDrawn="1"/>
        </p:nvSpPr>
        <p:spPr>
          <a:xfrm>
            <a:off x="0" y="0"/>
            <a:ext cx="5796000" cy="1548000"/>
          </a:xfrm>
          <a:custGeom>
            <a:avLst/>
            <a:gdLst>
              <a:gd name="connsiteX0" fmla="*/ 0 w 5796000"/>
              <a:gd name="connsiteY0" fmla="*/ 0 h 1548000"/>
              <a:gd name="connsiteX1" fmla="*/ 5796000 w 5796000"/>
              <a:gd name="connsiteY1" fmla="*/ 0 h 1548000"/>
              <a:gd name="connsiteX2" fmla="*/ 5796000 w 5796000"/>
              <a:gd name="connsiteY2" fmla="*/ 1548000 h 1548000"/>
              <a:gd name="connsiteX3" fmla="*/ 0 w 5796000"/>
              <a:gd name="connsiteY3" fmla="*/ 1548000 h 1548000"/>
              <a:gd name="connsiteX4" fmla="*/ 0 w 5796000"/>
              <a:gd name="connsiteY4" fmla="*/ 0 h 1548000"/>
              <a:gd name="connsiteX0" fmla="*/ 0 w 5796000"/>
              <a:gd name="connsiteY0" fmla="*/ 0 h 1548000"/>
              <a:gd name="connsiteX1" fmla="*/ 5796000 w 5796000"/>
              <a:gd name="connsiteY1" fmla="*/ 0 h 1548000"/>
              <a:gd name="connsiteX2" fmla="*/ 5796000 w 5796000"/>
              <a:gd name="connsiteY2" fmla="*/ 1548000 h 1548000"/>
              <a:gd name="connsiteX3" fmla="*/ 0 w 5796000"/>
              <a:gd name="connsiteY3" fmla="*/ 1548000 h 1548000"/>
              <a:gd name="connsiteX4" fmla="*/ 0 w 5796000"/>
              <a:gd name="connsiteY4" fmla="*/ 0 h 1548000"/>
              <a:gd name="connsiteX0" fmla="*/ 0 w 5796000"/>
              <a:gd name="connsiteY0" fmla="*/ 0 h 1548000"/>
              <a:gd name="connsiteX1" fmla="*/ 5796000 w 5796000"/>
              <a:gd name="connsiteY1" fmla="*/ 0 h 1548000"/>
              <a:gd name="connsiteX2" fmla="*/ 5796000 w 5796000"/>
              <a:gd name="connsiteY2" fmla="*/ 1548000 h 1548000"/>
              <a:gd name="connsiteX3" fmla="*/ 0 w 5796000"/>
              <a:gd name="connsiteY3" fmla="*/ 1548000 h 1548000"/>
              <a:gd name="connsiteX4" fmla="*/ 0 w 5796000"/>
              <a:gd name="connsiteY4" fmla="*/ 0 h 1548000"/>
              <a:gd name="connsiteX0" fmla="*/ 0 w 5796000"/>
              <a:gd name="connsiteY0" fmla="*/ 0 h 1548000"/>
              <a:gd name="connsiteX1" fmla="*/ 5796000 w 5796000"/>
              <a:gd name="connsiteY1" fmla="*/ 0 h 1548000"/>
              <a:gd name="connsiteX2" fmla="*/ 5796000 w 5796000"/>
              <a:gd name="connsiteY2" fmla="*/ 1548000 h 1548000"/>
              <a:gd name="connsiteX3" fmla="*/ 0 w 5796000"/>
              <a:gd name="connsiteY3" fmla="*/ 1548000 h 1548000"/>
              <a:gd name="connsiteX4" fmla="*/ 0 w 5796000"/>
              <a:gd name="connsiteY4" fmla="*/ 0 h 1548000"/>
              <a:gd name="connsiteX0" fmla="*/ 0 w 5796000"/>
              <a:gd name="connsiteY0" fmla="*/ 0 h 1548000"/>
              <a:gd name="connsiteX1" fmla="*/ 5796000 w 5796000"/>
              <a:gd name="connsiteY1" fmla="*/ 0 h 1548000"/>
              <a:gd name="connsiteX2" fmla="*/ 0 w 5796000"/>
              <a:gd name="connsiteY2" fmla="*/ 1548000 h 1548000"/>
              <a:gd name="connsiteX3" fmla="*/ 0 w 5796000"/>
              <a:gd name="connsiteY3" fmla="*/ 0 h 154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96000" h="1548000">
                <a:moveTo>
                  <a:pt x="0" y="0"/>
                </a:moveTo>
                <a:lnTo>
                  <a:pt x="5796000" y="0"/>
                </a:lnTo>
                <a:lnTo>
                  <a:pt x="0" y="1548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noProof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5283C61-2372-54D3-1343-FF994CE15C41}"/>
              </a:ext>
            </a:extLst>
          </p:cNvPr>
          <p:cNvSpPr/>
          <p:nvPr userDrawn="1"/>
        </p:nvSpPr>
        <p:spPr>
          <a:xfrm>
            <a:off x="8136000" y="0"/>
            <a:ext cx="2556000" cy="6011863"/>
          </a:xfrm>
          <a:custGeom>
            <a:avLst/>
            <a:gdLst>
              <a:gd name="connsiteX0" fmla="*/ 0 w 2556000"/>
              <a:gd name="connsiteY0" fmla="*/ 0 h 6011863"/>
              <a:gd name="connsiteX1" fmla="*/ 2556000 w 2556000"/>
              <a:gd name="connsiteY1" fmla="*/ 0 h 6011863"/>
              <a:gd name="connsiteX2" fmla="*/ 2556000 w 2556000"/>
              <a:gd name="connsiteY2" fmla="*/ 6011863 h 6011863"/>
              <a:gd name="connsiteX3" fmla="*/ 0 w 2556000"/>
              <a:gd name="connsiteY3" fmla="*/ 6011863 h 6011863"/>
              <a:gd name="connsiteX4" fmla="*/ 0 w 2556000"/>
              <a:gd name="connsiteY4" fmla="*/ 0 h 6011863"/>
              <a:gd name="connsiteX0" fmla="*/ 1607344 w 2556000"/>
              <a:gd name="connsiteY0" fmla="*/ 0 h 6011863"/>
              <a:gd name="connsiteX1" fmla="*/ 2556000 w 2556000"/>
              <a:gd name="connsiteY1" fmla="*/ 0 h 6011863"/>
              <a:gd name="connsiteX2" fmla="*/ 2556000 w 2556000"/>
              <a:gd name="connsiteY2" fmla="*/ 6011863 h 6011863"/>
              <a:gd name="connsiteX3" fmla="*/ 0 w 2556000"/>
              <a:gd name="connsiteY3" fmla="*/ 6011863 h 6011863"/>
              <a:gd name="connsiteX4" fmla="*/ 1607344 w 2556000"/>
              <a:gd name="connsiteY4" fmla="*/ 0 h 6011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56000" h="6011863">
                <a:moveTo>
                  <a:pt x="1607344" y="0"/>
                </a:moveTo>
                <a:lnTo>
                  <a:pt x="2556000" y="0"/>
                </a:lnTo>
                <a:lnTo>
                  <a:pt x="2556000" y="6011863"/>
                </a:lnTo>
                <a:lnTo>
                  <a:pt x="0" y="6011863"/>
                </a:lnTo>
                <a:lnTo>
                  <a:pt x="1607344" y="0"/>
                </a:lnTo>
                <a:close/>
              </a:path>
            </a:pathLst>
          </a:cu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noProof="0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E5F3257C-BE2D-4876-B4E7-8461AA05D02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571122" y="5556311"/>
            <a:ext cx="1671428" cy="180000"/>
          </a:xfrm>
          <a:prstGeom prst="rect">
            <a:avLst/>
          </a:prstGeom>
        </p:spPr>
      </p:pic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264"/>
          <a:ext cx="1587" cy="12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99" imgH="398" progId="TCLayout.ActiveDocument.1">
                  <p:embed/>
                </p:oleObj>
              </mc:Choice>
              <mc:Fallback>
                <p:oleObj name="think-cell Slide" r:id="rId6" imgW="399" imgH="398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0" y="1264"/>
                        <a:ext cx="1587" cy="12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 userDrawn="1">
            <p:ph type="title" hasCustomPrompt="1"/>
          </p:nvPr>
        </p:nvSpPr>
        <p:spPr>
          <a:xfrm>
            <a:off x="449262" y="1314450"/>
            <a:ext cx="7686737" cy="4032000"/>
          </a:xfrm>
        </p:spPr>
        <p:txBody>
          <a:bodyPr anchor="b" anchorCtr="0">
            <a:noAutofit/>
          </a:bodyPr>
          <a:lstStyle>
            <a:lvl1pPr>
              <a:lnSpc>
                <a:spcPts val="6000"/>
              </a:lnSpc>
              <a:defRPr sz="6000" b="0" cap="none" baseline="0">
                <a:solidFill>
                  <a:schemeClr val="accent2"/>
                </a:solidFill>
                <a:latin typeface="SKODA Next Light" panose="020B0304020603020204" pitchFamily="34" charset="0"/>
              </a:defRPr>
            </a:lvl1pPr>
          </a:lstStyle>
          <a:p>
            <a:r>
              <a:rPr lang="cs-CZ" noProof="0"/>
              <a:t>Název</a:t>
            </a:r>
            <a:br>
              <a:rPr lang="cs-CZ" noProof="0"/>
            </a:br>
            <a:r>
              <a:rPr lang="cs-CZ" noProof="0"/>
              <a:t>prezentace</a:t>
            </a:r>
          </a:p>
        </p:txBody>
      </p:sp>
      <p:sp>
        <p:nvSpPr>
          <p:cNvPr id="16" name="Zástupný symbol pro číslo snímku 5"/>
          <p:cNvSpPr>
            <a:spLocks noGrp="1"/>
          </p:cNvSpPr>
          <p:nvPr userDrawn="1">
            <p:ph type="sldNum" sz="quarter" idx="10"/>
          </p:nvPr>
        </p:nvSpPr>
        <p:spPr>
          <a:xfrm>
            <a:off x="449262" y="5778000"/>
            <a:ext cx="269960" cy="180000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22" name="Zástupný symbol pro zápatí 6"/>
          <p:cNvSpPr>
            <a:spLocks noGrp="1"/>
          </p:cNvSpPr>
          <p:nvPr userDrawn="1">
            <p:ph type="ftr" sz="quarter" idx="11"/>
          </p:nvPr>
        </p:nvSpPr>
        <p:spPr>
          <a:xfrm>
            <a:off x="449262" y="5598000"/>
            <a:ext cx="7686738" cy="180000"/>
          </a:xfrm>
          <a:noFill/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GB" sz="1200" b="0" smtClean="0">
                <a:solidFill>
                  <a:schemeClr val="accent2"/>
                </a:solidFill>
                <a:effectLst/>
                <a:latin typeface="SKODA Next Light" panose="020B0304020603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noProof="0"/>
              <a:t>S15 | 08.06.2023 | Future city tech | VTO | Miroslav Holan</a:t>
            </a:r>
            <a:endParaRPr lang="cs-CZ" noProof="0"/>
          </a:p>
        </p:txBody>
      </p:sp>
    </p:spTree>
    <p:extLst>
      <p:ext uri="{BB962C8B-B14F-4D97-AF65-F5344CB8AC3E}">
        <p14:creationId xmlns:p14="http://schemas.microsoft.com/office/powerpoint/2010/main" val="314664646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4877CB86-63EE-5524-5FB8-600E3F90AAAF}"/>
              </a:ext>
            </a:extLst>
          </p:cNvPr>
          <p:cNvSpPr/>
          <p:nvPr userDrawn="1"/>
        </p:nvSpPr>
        <p:spPr>
          <a:xfrm>
            <a:off x="0" y="0"/>
            <a:ext cx="6228000" cy="6011863"/>
          </a:xfrm>
          <a:custGeom>
            <a:avLst/>
            <a:gdLst>
              <a:gd name="connsiteX0" fmla="*/ 0 w 6228000"/>
              <a:gd name="connsiteY0" fmla="*/ 0 h 6011863"/>
              <a:gd name="connsiteX1" fmla="*/ 6228000 w 6228000"/>
              <a:gd name="connsiteY1" fmla="*/ 0 h 6011863"/>
              <a:gd name="connsiteX2" fmla="*/ 6228000 w 6228000"/>
              <a:gd name="connsiteY2" fmla="*/ 6011863 h 6011863"/>
              <a:gd name="connsiteX3" fmla="*/ 0 w 6228000"/>
              <a:gd name="connsiteY3" fmla="*/ 6011863 h 6011863"/>
              <a:gd name="connsiteX4" fmla="*/ 0 w 6228000"/>
              <a:gd name="connsiteY4" fmla="*/ 0 h 6011863"/>
              <a:gd name="connsiteX0" fmla="*/ 0 w 6228000"/>
              <a:gd name="connsiteY0" fmla="*/ 0 h 6011863"/>
              <a:gd name="connsiteX1" fmla="*/ 6228000 w 6228000"/>
              <a:gd name="connsiteY1" fmla="*/ 0 h 6011863"/>
              <a:gd name="connsiteX2" fmla="*/ 4608750 w 6228000"/>
              <a:gd name="connsiteY2" fmla="*/ 6011863 h 6011863"/>
              <a:gd name="connsiteX3" fmla="*/ 0 w 6228000"/>
              <a:gd name="connsiteY3" fmla="*/ 6011863 h 6011863"/>
              <a:gd name="connsiteX4" fmla="*/ 0 w 6228000"/>
              <a:gd name="connsiteY4" fmla="*/ 0 h 6011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28000" h="6011863">
                <a:moveTo>
                  <a:pt x="0" y="0"/>
                </a:moveTo>
                <a:lnTo>
                  <a:pt x="6228000" y="0"/>
                </a:lnTo>
                <a:lnTo>
                  <a:pt x="4608750" y="6011863"/>
                </a:lnTo>
                <a:lnTo>
                  <a:pt x="0" y="601186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25000"/>
              <a:lumOff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noProof="0"/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75261AE5-0C5F-B1E3-2914-16679B5E7F82}"/>
              </a:ext>
            </a:extLst>
          </p:cNvPr>
          <p:cNvSpPr/>
          <p:nvPr userDrawn="1"/>
        </p:nvSpPr>
        <p:spPr>
          <a:xfrm>
            <a:off x="6803813" y="4247863"/>
            <a:ext cx="3888000" cy="1764000"/>
          </a:xfrm>
          <a:custGeom>
            <a:avLst/>
            <a:gdLst>
              <a:gd name="connsiteX0" fmla="*/ 0 w 3888000"/>
              <a:gd name="connsiteY0" fmla="*/ 0 h 1764000"/>
              <a:gd name="connsiteX1" fmla="*/ 3888000 w 3888000"/>
              <a:gd name="connsiteY1" fmla="*/ 0 h 1764000"/>
              <a:gd name="connsiteX2" fmla="*/ 3888000 w 3888000"/>
              <a:gd name="connsiteY2" fmla="*/ 1764000 h 1764000"/>
              <a:gd name="connsiteX3" fmla="*/ 0 w 3888000"/>
              <a:gd name="connsiteY3" fmla="*/ 1764000 h 1764000"/>
              <a:gd name="connsiteX4" fmla="*/ 0 w 3888000"/>
              <a:gd name="connsiteY4" fmla="*/ 0 h 1764000"/>
              <a:gd name="connsiteX0" fmla="*/ 0 w 3888000"/>
              <a:gd name="connsiteY0" fmla="*/ 0 h 1764000"/>
              <a:gd name="connsiteX1" fmla="*/ 3888000 w 3888000"/>
              <a:gd name="connsiteY1" fmla="*/ 0 h 1764000"/>
              <a:gd name="connsiteX2" fmla="*/ 3888000 w 3888000"/>
              <a:gd name="connsiteY2" fmla="*/ 1764000 h 1764000"/>
              <a:gd name="connsiteX3" fmla="*/ 0 w 3888000"/>
              <a:gd name="connsiteY3" fmla="*/ 1764000 h 1764000"/>
              <a:gd name="connsiteX4" fmla="*/ 0 w 3888000"/>
              <a:gd name="connsiteY4" fmla="*/ 0 h 1764000"/>
              <a:gd name="connsiteX0" fmla="*/ 0 w 3888000"/>
              <a:gd name="connsiteY0" fmla="*/ 0 h 1764000"/>
              <a:gd name="connsiteX1" fmla="*/ 3888000 w 3888000"/>
              <a:gd name="connsiteY1" fmla="*/ 0 h 1764000"/>
              <a:gd name="connsiteX2" fmla="*/ 3888000 w 3888000"/>
              <a:gd name="connsiteY2" fmla="*/ 1764000 h 1764000"/>
              <a:gd name="connsiteX3" fmla="*/ 0 w 3888000"/>
              <a:gd name="connsiteY3" fmla="*/ 1764000 h 1764000"/>
              <a:gd name="connsiteX4" fmla="*/ 0 w 3888000"/>
              <a:gd name="connsiteY4" fmla="*/ 0 h 1764000"/>
              <a:gd name="connsiteX0" fmla="*/ 0 w 3888000"/>
              <a:gd name="connsiteY0" fmla="*/ 0 h 1764000"/>
              <a:gd name="connsiteX1" fmla="*/ 3888000 w 3888000"/>
              <a:gd name="connsiteY1" fmla="*/ 0 h 1764000"/>
              <a:gd name="connsiteX2" fmla="*/ 3888000 w 3888000"/>
              <a:gd name="connsiteY2" fmla="*/ 1764000 h 1764000"/>
              <a:gd name="connsiteX3" fmla="*/ 0 w 3888000"/>
              <a:gd name="connsiteY3" fmla="*/ 1764000 h 1764000"/>
              <a:gd name="connsiteX4" fmla="*/ 0 w 3888000"/>
              <a:gd name="connsiteY4" fmla="*/ 0 h 1764000"/>
              <a:gd name="connsiteX0" fmla="*/ 0 w 3888000"/>
              <a:gd name="connsiteY0" fmla="*/ 1764000 h 1764000"/>
              <a:gd name="connsiteX1" fmla="*/ 3888000 w 3888000"/>
              <a:gd name="connsiteY1" fmla="*/ 0 h 1764000"/>
              <a:gd name="connsiteX2" fmla="*/ 3888000 w 3888000"/>
              <a:gd name="connsiteY2" fmla="*/ 1764000 h 1764000"/>
              <a:gd name="connsiteX3" fmla="*/ 0 w 3888000"/>
              <a:gd name="connsiteY3" fmla="*/ 1764000 h 176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88000" h="1764000">
                <a:moveTo>
                  <a:pt x="0" y="1764000"/>
                </a:moveTo>
                <a:lnTo>
                  <a:pt x="3888000" y="0"/>
                </a:lnTo>
                <a:lnTo>
                  <a:pt x="3888000" y="1764000"/>
                </a:lnTo>
                <a:lnTo>
                  <a:pt x="0" y="1764000"/>
                </a:lnTo>
                <a:close/>
              </a:path>
            </a:pathLst>
          </a:custGeom>
          <a:solidFill>
            <a:schemeClr val="accent1">
              <a:lumMod val="25000"/>
              <a:lumOff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noProof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2D0ACEC7-B8BE-6CF6-F447-BD72724DF43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601394" y="0"/>
            <a:ext cx="6090650" cy="6011863"/>
          </a:xfrm>
          <a:custGeom>
            <a:avLst/>
            <a:gdLst>
              <a:gd name="connsiteX0" fmla="*/ 1634355 w 6100763"/>
              <a:gd name="connsiteY0" fmla="*/ 0 h 6011863"/>
              <a:gd name="connsiteX1" fmla="*/ 6100763 w 6100763"/>
              <a:gd name="connsiteY1" fmla="*/ 0 h 6011863"/>
              <a:gd name="connsiteX2" fmla="*/ 6100763 w 6100763"/>
              <a:gd name="connsiteY2" fmla="*/ 4252625 h 6011863"/>
              <a:gd name="connsiteX3" fmla="*/ 2215144 w 6100763"/>
              <a:gd name="connsiteY3" fmla="*/ 6011863 h 6011863"/>
              <a:gd name="connsiteX4" fmla="*/ 0 w 6100763"/>
              <a:gd name="connsiteY4" fmla="*/ 6011863 h 6011863"/>
              <a:gd name="connsiteX5" fmla="*/ 0 w 6100763"/>
              <a:gd name="connsiteY5" fmla="*/ 6011862 h 6011863"/>
              <a:gd name="connsiteX6" fmla="*/ 15106 w 6100763"/>
              <a:gd name="connsiteY6" fmla="*/ 6011862 h 6011863"/>
              <a:gd name="connsiteX0" fmla="*/ 1634355 w 6100763"/>
              <a:gd name="connsiteY0" fmla="*/ 0 h 6011863"/>
              <a:gd name="connsiteX1" fmla="*/ 6100763 w 6100763"/>
              <a:gd name="connsiteY1" fmla="*/ 0 h 6011863"/>
              <a:gd name="connsiteX2" fmla="*/ 6100763 w 6100763"/>
              <a:gd name="connsiteY2" fmla="*/ 4252625 h 6011863"/>
              <a:gd name="connsiteX3" fmla="*/ 2219907 w 6100763"/>
              <a:gd name="connsiteY3" fmla="*/ 6011863 h 6011863"/>
              <a:gd name="connsiteX4" fmla="*/ 0 w 6100763"/>
              <a:gd name="connsiteY4" fmla="*/ 6011863 h 6011863"/>
              <a:gd name="connsiteX5" fmla="*/ 0 w 6100763"/>
              <a:gd name="connsiteY5" fmla="*/ 6011862 h 6011863"/>
              <a:gd name="connsiteX6" fmla="*/ 15106 w 6100763"/>
              <a:gd name="connsiteY6" fmla="*/ 6011862 h 6011863"/>
              <a:gd name="connsiteX7" fmla="*/ 1634355 w 6100763"/>
              <a:gd name="connsiteY7" fmla="*/ 0 h 6011863"/>
              <a:gd name="connsiteX0" fmla="*/ 1634355 w 6100763"/>
              <a:gd name="connsiteY0" fmla="*/ 0 h 6011863"/>
              <a:gd name="connsiteX1" fmla="*/ 6100763 w 6100763"/>
              <a:gd name="connsiteY1" fmla="*/ 0 h 6011863"/>
              <a:gd name="connsiteX2" fmla="*/ 6098382 w 6100763"/>
              <a:gd name="connsiteY2" fmla="*/ 4257388 h 6011863"/>
              <a:gd name="connsiteX3" fmla="*/ 2219907 w 6100763"/>
              <a:gd name="connsiteY3" fmla="*/ 6011863 h 6011863"/>
              <a:gd name="connsiteX4" fmla="*/ 0 w 6100763"/>
              <a:gd name="connsiteY4" fmla="*/ 6011863 h 6011863"/>
              <a:gd name="connsiteX5" fmla="*/ 0 w 6100763"/>
              <a:gd name="connsiteY5" fmla="*/ 6011862 h 6011863"/>
              <a:gd name="connsiteX6" fmla="*/ 15106 w 6100763"/>
              <a:gd name="connsiteY6" fmla="*/ 6011862 h 6011863"/>
              <a:gd name="connsiteX7" fmla="*/ 1634355 w 6100763"/>
              <a:gd name="connsiteY7" fmla="*/ 0 h 6011863"/>
              <a:gd name="connsiteX0" fmla="*/ 1634355 w 6100993"/>
              <a:gd name="connsiteY0" fmla="*/ 0 h 6011863"/>
              <a:gd name="connsiteX1" fmla="*/ 6100763 w 6100993"/>
              <a:gd name="connsiteY1" fmla="*/ 0 h 6011863"/>
              <a:gd name="connsiteX2" fmla="*/ 6100764 w 6100993"/>
              <a:gd name="connsiteY2" fmla="*/ 4255007 h 6011863"/>
              <a:gd name="connsiteX3" fmla="*/ 2219907 w 6100993"/>
              <a:gd name="connsiteY3" fmla="*/ 6011863 h 6011863"/>
              <a:gd name="connsiteX4" fmla="*/ 0 w 6100993"/>
              <a:gd name="connsiteY4" fmla="*/ 6011863 h 6011863"/>
              <a:gd name="connsiteX5" fmla="*/ 0 w 6100993"/>
              <a:gd name="connsiteY5" fmla="*/ 6011862 h 6011863"/>
              <a:gd name="connsiteX6" fmla="*/ 15106 w 6100993"/>
              <a:gd name="connsiteY6" fmla="*/ 6011862 h 6011863"/>
              <a:gd name="connsiteX7" fmla="*/ 1634355 w 6100993"/>
              <a:gd name="connsiteY7" fmla="*/ 0 h 6011863"/>
              <a:gd name="connsiteX0" fmla="*/ 1634355 w 6100993"/>
              <a:gd name="connsiteY0" fmla="*/ 0 h 6011863"/>
              <a:gd name="connsiteX1" fmla="*/ 6100763 w 6100993"/>
              <a:gd name="connsiteY1" fmla="*/ 0 h 6011863"/>
              <a:gd name="connsiteX2" fmla="*/ 6100764 w 6100993"/>
              <a:gd name="connsiteY2" fmla="*/ 4252626 h 6011863"/>
              <a:gd name="connsiteX3" fmla="*/ 2219907 w 6100993"/>
              <a:gd name="connsiteY3" fmla="*/ 6011863 h 6011863"/>
              <a:gd name="connsiteX4" fmla="*/ 0 w 6100993"/>
              <a:gd name="connsiteY4" fmla="*/ 6011863 h 6011863"/>
              <a:gd name="connsiteX5" fmla="*/ 0 w 6100993"/>
              <a:gd name="connsiteY5" fmla="*/ 6011862 h 6011863"/>
              <a:gd name="connsiteX6" fmla="*/ 15106 w 6100993"/>
              <a:gd name="connsiteY6" fmla="*/ 6011862 h 6011863"/>
              <a:gd name="connsiteX7" fmla="*/ 1634355 w 6100993"/>
              <a:gd name="connsiteY7" fmla="*/ 0 h 6011863"/>
              <a:gd name="connsiteX0" fmla="*/ 1634355 w 6100993"/>
              <a:gd name="connsiteY0" fmla="*/ 0 h 6011863"/>
              <a:gd name="connsiteX1" fmla="*/ 6100763 w 6100993"/>
              <a:gd name="connsiteY1" fmla="*/ 0 h 6011863"/>
              <a:gd name="connsiteX2" fmla="*/ 6100764 w 6100993"/>
              <a:gd name="connsiteY2" fmla="*/ 4252626 h 6011863"/>
              <a:gd name="connsiteX3" fmla="*/ 2222288 w 6100993"/>
              <a:gd name="connsiteY3" fmla="*/ 6011863 h 6011863"/>
              <a:gd name="connsiteX4" fmla="*/ 0 w 6100993"/>
              <a:gd name="connsiteY4" fmla="*/ 6011863 h 6011863"/>
              <a:gd name="connsiteX5" fmla="*/ 0 w 6100993"/>
              <a:gd name="connsiteY5" fmla="*/ 6011862 h 6011863"/>
              <a:gd name="connsiteX6" fmla="*/ 15106 w 6100993"/>
              <a:gd name="connsiteY6" fmla="*/ 6011862 h 6011863"/>
              <a:gd name="connsiteX7" fmla="*/ 1634355 w 6100993"/>
              <a:gd name="connsiteY7" fmla="*/ 0 h 6011863"/>
              <a:gd name="connsiteX0" fmla="*/ 1634355 w 6100993"/>
              <a:gd name="connsiteY0" fmla="*/ 0 h 6011863"/>
              <a:gd name="connsiteX1" fmla="*/ 6100763 w 6100993"/>
              <a:gd name="connsiteY1" fmla="*/ 0 h 6011863"/>
              <a:gd name="connsiteX2" fmla="*/ 6100764 w 6100993"/>
              <a:gd name="connsiteY2" fmla="*/ 4252626 h 6011863"/>
              <a:gd name="connsiteX3" fmla="*/ 2222288 w 6100993"/>
              <a:gd name="connsiteY3" fmla="*/ 6011863 h 6011863"/>
              <a:gd name="connsiteX4" fmla="*/ 0 w 6100993"/>
              <a:gd name="connsiteY4" fmla="*/ 6011863 h 6011863"/>
              <a:gd name="connsiteX5" fmla="*/ 0 w 6100993"/>
              <a:gd name="connsiteY5" fmla="*/ 6011862 h 6011863"/>
              <a:gd name="connsiteX6" fmla="*/ 10343 w 6100993"/>
              <a:gd name="connsiteY6" fmla="*/ 6011862 h 6011863"/>
              <a:gd name="connsiteX7" fmla="*/ 1634355 w 6100993"/>
              <a:gd name="connsiteY7" fmla="*/ 0 h 6011863"/>
              <a:gd name="connsiteX0" fmla="*/ 1831999 w 6298637"/>
              <a:gd name="connsiteY0" fmla="*/ 0 h 6090443"/>
              <a:gd name="connsiteX1" fmla="*/ 6298407 w 6298637"/>
              <a:gd name="connsiteY1" fmla="*/ 0 h 6090443"/>
              <a:gd name="connsiteX2" fmla="*/ 6298408 w 6298637"/>
              <a:gd name="connsiteY2" fmla="*/ 4252626 h 6090443"/>
              <a:gd name="connsiteX3" fmla="*/ 2419932 w 6298637"/>
              <a:gd name="connsiteY3" fmla="*/ 6011863 h 6090443"/>
              <a:gd name="connsiteX4" fmla="*/ 197644 w 6298637"/>
              <a:gd name="connsiteY4" fmla="*/ 6011863 h 6090443"/>
              <a:gd name="connsiteX5" fmla="*/ 0 w 6298637"/>
              <a:gd name="connsiteY5" fmla="*/ 6090443 h 6090443"/>
              <a:gd name="connsiteX6" fmla="*/ 207987 w 6298637"/>
              <a:gd name="connsiteY6" fmla="*/ 6011862 h 6090443"/>
              <a:gd name="connsiteX7" fmla="*/ 1831999 w 6298637"/>
              <a:gd name="connsiteY7" fmla="*/ 0 h 6090443"/>
              <a:gd name="connsiteX0" fmla="*/ 1831999 w 6298637"/>
              <a:gd name="connsiteY0" fmla="*/ 0 h 6090443"/>
              <a:gd name="connsiteX1" fmla="*/ 6298407 w 6298637"/>
              <a:gd name="connsiteY1" fmla="*/ 0 h 6090443"/>
              <a:gd name="connsiteX2" fmla="*/ 6298408 w 6298637"/>
              <a:gd name="connsiteY2" fmla="*/ 4252626 h 6090443"/>
              <a:gd name="connsiteX3" fmla="*/ 2419932 w 6298637"/>
              <a:gd name="connsiteY3" fmla="*/ 6011863 h 6090443"/>
              <a:gd name="connsiteX4" fmla="*/ 52388 w 6298637"/>
              <a:gd name="connsiteY4" fmla="*/ 5957094 h 6090443"/>
              <a:gd name="connsiteX5" fmla="*/ 0 w 6298637"/>
              <a:gd name="connsiteY5" fmla="*/ 6090443 h 6090443"/>
              <a:gd name="connsiteX6" fmla="*/ 207987 w 6298637"/>
              <a:gd name="connsiteY6" fmla="*/ 6011862 h 6090443"/>
              <a:gd name="connsiteX7" fmla="*/ 1831999 w 6298637"/>
              <a:gd name="connsiteY7" fmla="*/ 0 h 6090443"/>
              <a:gd name="connsiteX0" fmla="*/ 1831999 w 6298637"/>
              <a:gd name="connsiteY0" fmla="*/ 0 h 6090443"/>
              <a:gd name="connsiteX1" fmla="*/ 6298407 w 6298637"/>
              <a:gd name="connsiteY1" fmla="*/ 0 h 6090443"/>
              <a:gd name="connsiteX2" fmla="*/ 6298408 w 6298637"/>
              <a:gd name="connsiteY2" fmla="*/ 4252626 h 6090443"/>
              <a:gd name="connsiteX3" fmla="*/ 2419932 w 6298637"/>
              <a:gd name="connsiteY3" fmla="*/ 6011863 h 6090443"/>
              <a:gd name="connsiteX4" fmla="*/ 0 w 6298637"/>
              <a:gd name="connsiteY4" fmla="*/ 6090443 h 6090443"/>
              <a:gd name="connsiteX5" fmla="*/ 207987 w 6298637"/>
              <a:gd name="connsiteY5" fmla="*/ 6011862 h 6090443"/>
              <a:gd name="connsiteX6" fmla="*/ 1831999 w 6298637"/>
              <a:gd name="connsiteY6" fmla="*/ 0 h 6090443"/>
              <a:gd name="connsiteX0" fmla="*/ 1624012 w 6090650"/>
              <a:gd name="connsiteY0" fmla="*/ 0 h 6011863"/>
              <a:gd name="connsiteX1" fmla="*/ 6090420 w 6090650"/>
              <a:gd name="connsiteY1" fmla="*/ 0 h 6011863"/>
              <a:gd name="connsiteX2" fmla="*/ 6090421 w 6090650"/>
              <a:gd name="connsiteY2" fmla="*/ 4252626 h 6011863"/>
              <a:gd name="connsiteX3" fmla="*/ 2211945 w 6090650"/>
              <a:gd name="connsiteY3" fmla="*/ 6011863 h 6011863"/>
              <a:gd name="connsiteX4" fmla="*/ 0 w 6090650"/>
              <a:gd name="connsiteY4" fmla="*/ 6011862 h 6011863"/>
              <a:gd name="connsiteX5" fmla="*/ 1624012 w 6090650"/>
              <a:gd name="connsiteY5" fmla="*/ 0 h 6011863"/>
              <a:gd name="connsiteX0" fmla="*/ 1621630 w 6090650"/>
              <a:gd name="connsiteY0" fmla="*/ 0 h 6011863"/>
              <a:gd name="connsiteX1" fmla="*/ 6090420 w 6090650"/>
              <a:gd name="connsiteY1" fmla="*/ 0 h 6011863"/>
              <a:gd name="connsiteX2" fmla="*/ 6090421 w 6090650"/>
              <a:gd name="connsiteY2" fmla="*/ 4252626 h 6011863"/>
              <a:gd name="connsiteX3" fmla="*/ 2211945 w 6090650"/>
              <a:gd name="connsiteY3" fmla="*/ 6011863 h 6011863"/>
              <a:gd name="connsiteX4" fmla="*/ 0 w 6090650"/>
              <a:gd name="connsiteY4" fmla="*/ 6011862 h 6011863"/>
              <a:gd name="connsiteX5" fmla="*/ 1621630 w 6090650"/>
              <a:gd name="connsiteY5" fmla="*/ 0 h 6011863"/>
              <a:gd name="connsiteX0" fmla="*/ 1621630 w 6090650"/>
              <a:gd name="connsiteY0" fmla="*/ 0 h 6014244"/>
              <a:gd name="connsiteX1" fmla="*/ 6090420 w 6090650"/>
              <a:gd name="connsiteY1" fmla="*/ 2381 h 6014244"/>
              <a:gd name="connsiteX2" fmla="*/ 6090421 w 6090650"/>
              <a:gd name="connsiteY2" fmla="*/ 4255007 h 6014244"/>
              <a:gd name="connsiteX3" fmla="*/ 2211945 w 6090650"/>
              <a:gd name="connsiteY3" fmla="*/ 6014244 h 6014244"/>
              <a:gd name="connsiteX4" fmla="*/ 0 w 6090650"/>
              <a:gd name="connsiteY4" fmla="*/ 6014243 h 6014244"/>
              <a:gd name="connsiteX5" fmla="*/ 1621630 w 6090650"/>
              <a:gd name="connsiteY5" fmla="*/ 0 h 6014244"/>
              <a:gd name="connsiteX0" fmla="*/ 1621630 w 6090650"/>
              <a:gd name="connsiteY0" fmla="*/ 0 h 6011863"/>
              <a:gd name="connsiteX1" fmla="*/ 6090420 w 6090650"/>
              <a:gd name="connsiteY1" fmla="*/ 0 h 6011863"/>
              <a:gd name="connsiteX2" fmla="*/ 6090421 w 6090650"/>
              <a:gd name="connsiteY2" fmla="*/ 4252626 h 6011863"/>
              <a:gd name="connsiteX3" fmla="*/ 2211945 w 6090650"/>
              <a:gd name="connsiteY3" fmla="*/ 6011863 h 6011863"/>
              <a:gd name="connsiteX4" fmla="*/ 0 w 6090650"/>
              <a:gd name="connsiteY4" fmla="*/ 6011862 h 6011863"/>
              <a:gd name="connsiteX5" fmla="*/ 1621630 w 6090650"/>
              <a:gd name="connsiteY5" fmla="*/ 0 h 6011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0650" h="6011863">
                <a:moveTo>
                  <a:pt x="1621630" y="0"/>
                </a:moveTo>
                <a:lnTo>
                  <a:pt x="6090420" y="0"/>
                </a:lnTo>
                <a:cubicBezTo>
                  <a:pt x="6089626" y="1419129"/>
                  <a:pt x="6091215" y="2833497"/>
                  <a:pt x="6090421" y="4252626"/>
                </a:cubicBezTo>
                <a:lnTo>
                  <a:pt x="2211945" y="6011863"/>
                </a:lnTo>
                <a:lnTo>
                  <a:pt x="0" y="6011862"/>
                </a:lnTo>
                <a:lnTo>
                  <a:pt x="1621630" y="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 algn="ctr"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cs-CZ" noProof="0"/>
              <a:t>Obrázek</a:t>
            </a:r>
          </a:p>
        </p:txBody>
      </p: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264"/>
          <a:ext cx="1587" cy="12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9" imgH="398" progId="TCLayout.ActiveDocument.1">
                  <p:embed/>
                </p:oleObj>
              </mc:Choice>
              <mc:Fallback>
                <p:oleObj name="think-cell Slide" r:id="rId3" imgW="399" imgH="398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264"/>
                        <a:ext cx="1587" cy="12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 userDrawn="1">
            <p:ph type="title" hasCustomPrompt="1"/>
          </p:nvPr>
        </p:nvSpPr>
        <p:spPr>
          <a:xfrm>
            <a:off x="449263" y="396000"/>
            <a:ext cx="4968876" cy="1403760"/>
          </a:xfrm>
        </p:spPr>
        <p:txBody>
          <a:bodyPr anchor="t" anchorCtr="0">
            <a:noAutofit/>
          </a:bodyPr>
          <a:lstStyle>
            <a:lvl1pPr>
              <a:lnSpc>
                <a:spcPts val="6000"/>
              </a:lnSpc>
              <a:defRPr sz="6000" b="0" cap="none" baseline="0">
                <a:solidFill>
                  <a:schemeClr val="tx1"/>
                </a:solidFill>
                <a:latin typeface="SKODA Next Light" panose="020B0304020603020204" pitchFamily="34" charset="0"/>
              </a:defRPr>
            </a:lvl1pPr>
          </a:lstStyle>
          <a:p>
            <a:r>
              <a:rPr lang="cs-CZ" noProof="0"/>
              <a:t>Název</a:t>
            </a:r>
            <a:br>
              <a:rPr lang="cs-CZ" noProof="0"/>
            </a:br>
            <a:r>
              <a:rPr lang="cs-CZ" noProof="0"/>
              <a:t>prezentace</a:t>
            </a:r>
          </a:p>
        </p:txBody>
      </p:sp>
      <p:sp>
        <p:nvSpPr>
          <p:cNvPr id="19" name="Zástupný symbol pro text 18"/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449263" y="2051999"/>
            <a:ext cx="4824412" cy="1350013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Font typeface="Arial" panose="020B0604020202020204" pitchFamily="34" charset="0"/>
              <a:buNone/>
              <a:defRPr sz="2200">
                <a:solidFill>
                  <a:schemeClr val="tx1"/>
                </a:solidFill>
                <a:latin typeface="SKODA Next Light" panose="020B0304020603020204" pitchFamily="34" charset="0"/>
              </a:defRPr>
            </a:lvl1pPr>
          </a:lstStyle>
          <a:p>
            <a:pPr lvl="0"/>
            <a:r>
              <a:rPr lang="cs-CZ" noProof="0"/>
              <a:t>Dodatečné informace</a:t>
            </a:r>
          </a:p>
        </p:txBody>
      </p:sp>
      <p:sp>
        <p:nvSpPr>
          <p:cNvPr id="16" name="Zástupný symbol pro číslo snímku 5"/>
          <p:cNvSpPr>
            <a:spLocks noGrp="1"/>
          </p:cNvSpPr>
          <p:nvPr userDrawn="1">
            <p:ph type="sldNum" sz="quarter" idx="10"/>
          </p:nvPr>
        </p:nvSpPr>
        <p:spPr>
          <a:xfrm>
            <a:off x="449263" y="5778000"/>
            <a:ext cx="269960" cy="180000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22" name="Zástupný symbol pro zápatí 6"/>
          <p:cNvSpPr>
            <a:spLocks noGrp="1"/>
          </p:cNvSpPr>
          <p:nvPr userDrawn="1">
            <p:ph type="ftr" sz="quarter" idx="11"/>
          </p:nvPr>
        </p:nvSpPr>
        <p:spPr>
          <a:xfrm>
            <a:off x="449262" y="5598000"/>
            <a:ext cx="7686737" cy="180000"/>
          </a:xfrm>
          <a:noFill/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GB" sz="1200" b="0" smtClean="0">
                <a:solidFill>
                  <a:schemeClr val="tx1"/>
                </a:solidFill>
                <a:effectLst/>
                <a:latin typeface="SKODA Next Light" panose="020B0304020603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noProof="0"/>
              <a:t>S15 | 08.06.2023 | Future city tech | VTO | Miroslav Holan</a:t>
            </a:r>
            <a:endParaRPr lang="cs-CZ" noProof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396F9CE6-900E-D00D-5B2F-DB99803B32C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571121" y="5558992"/>
            <a:ext cx="1671429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742110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387D75E-1DB6-CCAA-28E8-1DCBFB939DCB}"/>
              </a:ext>
            </a:extLst>
          </p:cNvPr>
          <p:cNvSpPr/>
          <p:nvPr userDrawn="1"/>
        </p:nvSpPr>
        <p:spPr>
          <a:xfrm>
            <a:off x="0" y="0"/>
            <a:ext cx="5796000" cy="1548000"/>
          </a:xfrm>
          <a:custGeom>
            <a:avLst/>
            <a:gdLst>
              <a:gd name="connsiteX0" fmla="*/ 0 w 5796000"/>
              <a:gd name="connsiteY0" fmla="*/ 0 h 1548000"/>
              <a:gd name="connsiteX1" fmla="*/ 5796000 w 5796000"/>
              <a:gd name="connsiteY1" fmla="*/ 0 h 1548000"/>
              <a:gd name="connsiteX2" fmla="*/ 5796000 w 5796000"/>
              <a:gd name="connsiteY2" fmla="*/ 1548000 h 1548000"/>
              <a:gd name="connsiteX3" fmla="*/ 0 w 5796000"/>
              <a:gd name="connsiteY3" fmla="*/ 1548000 h 1548000"/>
              <a:gd name="connsiteX4" fmla="*/ 0 w 5796000"/>
              <a:gd name="connsiteY4" fmla="*/ 0 h 1548000"/>
              <a:gd name="connsiteX0" fmla="*/ 0 w 5796000"/>
              <a:gd name="connsiteY0" fmla="*/ 0 h 1548000"/>
              <a:gd name="connsiteX1" fmla="*/ 5796000 w 5796000"/>
              <a:gd name="connsiteY1" fmla="*/ 0 h 1548000"/>
              <a:gd name="connsiteX2" fmla="*/ 5796000 w 5796000"/>
              <a:gd name="connsiteY2" fmla="*/ 1548000 h 1548000"/>
              <a:gd name="connsiteX3" fmla="*/ 0 w 5796000"/>
              <a:gd name="connsiteY3" fmla="*/ 1548000 h 1548000"/>
              <a:gd name="connsiteX4" fmla="*/ 0 w 5796000"/>
              <a:gd name="connsiteY4" fmla="*/ 0 h 1548000"/>
              <a:gd name="connsiteX0" fmla="*/ 0 w 5796000"/>
              <a:gd name="connsiteY0" fmla="*/ 0 h 1548000"/>
              <a:gd name="connsiteX1" fmla="*/ 5796000 w 5796000"/>
              <a:gd name="connsiteY1" fmla="*/ 0 h 1548000"/>
              <a:gd name="connsiteX2" fmla="*/ 5796000 w 5796000"/>
              <a:gd name="connsiteY2" fmla="*/ 1548000 h 1548000"/>
              <a:gd name="connsiteX3" fmla="*/ 0 w 5796000"/>
              <a:gd name="connsiteY3" fmla="*/ 1548000 h 1548000"/>
              <a:gd name="connsiteX4" fmla="*/ 0 w 5796000"/>
              <a:gd name="connsiteY4" fmla="*/ 0 h 1548000"/>
              <a:gd name="connsiteX0" fmla="*/ 0 w 5796000"/>
              <a:gd name="connsiteY0" fmla="*/ 0 h 1548000"/>
              <a:gd name="connsiteX1" fmla="*/ 5796000 w 5796000"/>
              <a:gd name="connsiteY1" fmla="*/ 0 h 1548000"/>
              <a:gd name="connsiteX2" fmla="*/ 5796000 w 5796000"/>
              <a:gd name="connsiteY2" fmla="*/ 1548000 h 1548000"/>
              <a:gd name="connsiteX3" fmla="*/ 0 w 5796000"/>
              <a:gd name="connsiteY3" fmla="*/ 1548000 h 1548000"/>
              <a:gd name="connsiteX4" fmla="*/ 0 w 5796000"/>
              <a:gd name="connsiteY4" fmla="*/ 0 h 1548000"/>
              <a:gd name="connsiteX0" fmla="*/ 0 w 5796000"/>
              <a:gd name="connsiteY0" fmla="*/ 0 h 1548000"/>
              <a:gd name="connsiteX1" fmla="*/ 5796000 w 5796000"/>
              <a:gd name="connsiteY1" fmla="*/ 0 h 1548000"/>
              <a:gd name="connsiteX2" fmla="*/ 0 w 5796000"/>
              <a:gd name="connsiteY2" fmla="*/ 1548000 h 1548000"/>
              <a:gd name="connsiteX3" fmla="*/ 0 w 5796000"/>
              <a:gd name="connsiteY3" fmla="*/ 0 h 154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96000" h="1548000">
                <a:moveTo>
                  <a:pt x="0" y="0"/>
                </a:moveTo>
                <a:lnTo>
                  <a:pt x="5796000" y="0"/>
                </a:lnTo>
                <a:lnTo>
                  <a:pt x="0" y="1548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25000"/>
              <a:lumOff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noProof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5283C61-2372-54D3-1343-FF994CE15C41}"/>
              </a:ext>
            </a:extLst>
          </p:cNvPr>
          <p:cNvSpPr/>
          <p:nvPr userDrawn="1"/>
        </p:nvSpPr>
        <p:spPr>
          <a:xfrm>
            <a:off x="8136000" y="0"/>
            <a:ext cx="2556000" cy="6011863"/>
          </a:xfrm>
          <a:custGeom>
            <a:avLst/>
            <a:gdLst>
              <a:gd name="connsiteX0" fmla="*/ 0 w 2556000"/>
              <a:gd name="connsiteY0" fmla="*/ 0 h 6011863"/>
              <a:gd name="connsiteX1" fmla="*/ 2556000 w 2556000"/>
              <a:gd name="connsiteY1" fmla="*/ 0 h 6011863"/>
              <a:gd name="connsiteX2" fmla="*/ 2556000 w 2556000"/>
              <a:gd name="connsiteY2" fmla="*/ 6011863 h 6011863"/>
              <a:gd name="connsiteX3" fmla="*/ 0 w 2556000"/>
              <a:gd name="connsiteY3" fmla="*/ 6011863 h 6011863"/>
              <a:gd name="connsiteX4" fmla="*/ 0 w 2556000"/>
              <a:gd name="connsiteY4" fmla="*/ 0 h 6011863"/>
              <a:gd name="connsiteX0" fmla="*/ 1607344 w 2556000"/>
              <a:gd name="connsiteY0" fmla="*/ 0 h 6011863"/>
              <a:gd name="connsiteX1" fmla="*/ 2556000 w 2556000"/>
              <a:gd name="connsiteY1" fmla="*/ 0 h 6011863"/>
              <a:gd name="connsiteX2" fmla="*/ 2556000 w 2556000"/>
              <a:gd name="connsiteY2" fmla="*/ 6011863 h 6011863"/>
              <a:gd name="connsiteX3" fmla="*/ 0 w 2556000"/>
              <a:gd name="connsiteY3" fmla="*/ 6011863 h 6011863"/>
              <a:gd name="connsiteX4" fmla="*/ 1607344 w 2556000"/>
              <a:gd name="connsiteY4" fmla="*/ 0 h 6011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56000" h="6011863">
                <a:moveTo>
                  <a:pt x="1607344" y="0"/>
                </a:moveTo>
                <a:lnTo>
                  <a:pt x="2556000" y="0"/>
                </a:lnTo>
                <a:lnTo>
                  <a:pt x="2556000" y="6011863"/>
                </a:lnTo>
                <a:lnTo>
                  <a:pt x="0" y="6011863"/>
                </a:lnTo>
                <a:lnTo>
                  <a:pt x="1607344" y="0"/>
                </a:lnTo>
                <a:close/>
              </a:path>
            </a:pathLst>
          </a:custGeom>
          <a:solidFill>
            <a:schemeClr val="accent1">
              <a:lumMod val="25000"/>
              <a:lumOff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noProof="0"/>
          </a:p>
        </p:txBody>
      </p: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264"/>
          <a:ext cx="1587" cy="12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9" imgH="398" progId="TCLayout.ActiveDocument.1">
                  <p:embed/>
                </p:oleObj>
              </mc:Choice>
              <mc:Fallback>
                <p:oleObj name="think-cell Slide" r:id="rId3" imgW="399" imgH="398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264"/>
                        <a:ext cx="1587" cy="12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 userDrawn="1">
            <p:ph type="title" hasCustomPrompt="1"/>
          </p:nvPr>
        </p:nvSpPr>
        <p:spPr>
          <a:xfrm>
            <a:off x="449262" y="1314450"/>
            <a:ext cx="7686737" cy="4032000"/>
          </a:xfrm>
        </p:spPr>
        <p:txBody>
          <a:bodyPr anchor="b" anchorCtr="0">
            <a:noAutofit/>
          </a:bodyPr>
          <a:lstStyle>
            <a:lvl1pPr>
              <a:lnSpc>
                <a:spcPts val="6000"/>
              </a:lnSpc>
              <a:defRPr sz="6000" b="0" cap="none" baseline="0">
                <a:solidFill>
                  <a:schemeClr val="tx1"/>
                </a:solidFill>
                <a:latin typeface="SKODA Next Light" panose="020B0304020603020204" pitchFamily="34" charset="0"/>
              </a:defRPr>
            </a:lvl1pPr>
          </a:lstStyle>
          <a:p>
            <a:r>
              <a:rPr lang="cs-CZ" noProof="0"/>
              <a:t>Název</a:t>
            </a:r>
            <a:br>
              <a:rPr lang="cs-CZ" noProof="0"/>
            </a:br>
            <a:r>
              <a:rPr lang="cs-CZ" noProof="0"/>
              <a:t>prezentace</a:t>
            </a:r>
          </a:p>
        </p:txBody>
      </p:sp>
      <p:sp>
        <p:nvSpPr>
          <p:cNvPr id="16" name="Zástupný symbol pro číslo snímku 5"/>
          <p:cNvSpPr>
            <a:spLocks noGrp="1"/>
          </p:cNvSpPr>
          <p:nvPr userDrawn="1">
            <p:ph type="sldNum" sz="quarter" idx="10"/>
          </p:nvPr>
        </p:nvSpPr>
        <p:spPr>
          <a:xfrm>
            <a:off x="449262" y="5778000"/>
            <a:ext cx="269960" cy="180000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22" name="Zástupný symbol pro zápatí 6"/>
          <p:cNvSpPr>
            <a:spLocks noGrp="1"/>
          </p:cNvSpPr>
          <p:nvPr userDrawn="1">
            <p:ph type="ftr" sz="quarter" idx="11"/>
          </p:nvPr>
        </p:nvSpPr>
        <p:spPr>
          <a:xfrm>
            <a:off x="449262" y="5598000"/>
            <a:ext cx="7686738" cy="180000"/>
          </a:xfrm>
          <a:noFill/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GB" sz="1200" b="0" smtClean="0">
                <a:solidFill>
                  <a:schemeClr val="tx1"/>
                </a:solidFill>
                <a:effectLst/>
                <a:latin typeface="SKODA Next Light" panose="020B0304020603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noProof="0"/>
              <a:t>S15 | 08.06.2023 | Future city tech | VTO | Miroslav Holan</a:t>
            </a:r>
            <a:endParaRPr lang="cs-CZ" noProof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FCAE7608-F105-B8C6-CA96-A7279C2B06D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571121" y="5558992"/>
            <a:ext cx="1671429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605861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xt Chap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264"/>
          <a:ext cx="1587" cy="12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9" imgH="398" progId="TCLayout.ActiveDocument.1">
                  <p:embed/>
                </p:oleObj>
              </mc:Choice>
              <mc:Fallback>
                <p:oleObj name="think-cell Slide" r:id="rId3" imgW="399" imgH="398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264"/>
                        <a:ext cx="1587" cy="12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 userDrawn="1">
            <p:ph type="title" hasCustomPrompt="1"/>
          </p:nvPr>
        </p:nvSpPr>
        <p:spPr>
          <a:xfrm>
            <a:off x="449263" y="1314450"/>
            <a:ext cx="9791194" cy="1620000"/>
          </a:xfrm>
        </p:spPr>
        <p:txBody>
          <a:bodyPr anchor="t" anchorCtr="0">
            <a:noAutofit/>
          </a:bodyPr>
          <a:lstStyle>
            <a:lvl1pPr marL="0" indent="0">
              <a:lnSpc>
                <a:spcPts val="6000"/>
              </a:lnSpc>
              <a:buFont typeface="+mj-lt"/>
              <a:buNone/>
              <a:defRPr sz="6000" b="0" cap="none" baseline="0">
                <a:solidFill>
                  <a:schemeClr val="tx1"/>
                </a:solidFill>
                <a:latin typeface="SKODA Next Light" panose="020B0304020603020204" pitchFamily="34" charset="0"/>
              </a:defRPr>
            </a:lvl1pPr>
          </a:lstStyle>
          <a:p>
            <a:r>
              <a:rPr lang="cs-CZ" noProof="0"/>
              <a:t>1. Kapitola</a:t>
            </a:r>
          </a:p>
        </p:txBody>
      </p:sp>
      <p:sp>
        <p:nvSpPr>
          <p:cNvPr id="11" name="Text Placeholder 19">
            <a:extLst>
              <a:ext uri="{FF2B5EF4-FFF2-40B4-BE49-F238E27FC236}">
                <a16:creationId xmlns:a16="http://schemas.microsoft.com/office/drawing/2014/main" id="{6DE4403A-6787-41E0-C252-174FF53546B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49601" y="3005930"/>
            <a:ext cx="8890856" cy="234077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buNone/>
              <a:defRPr sz="2000" b="0">
                <a:solidFill>
                  <a:schemeClr val="tx1"/>
                </a:solidFill>
                <a:latin typeface="SKODA Next Light" panose="020B0304020603020204" pitchFamily="34" charset="0"/>
              </a:defRPr>
            </a:lvl1pPr>
          </a:lstStyle>
          <a:p>
            <a:pPr lvl="0"/>
            <a:r>
              <a:rPr lang="cs-CZ" noProof="0"/>
              <a:t>Detaily kapitoly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5DA00B0-72A3-6348-58CB-D5A08617BE18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S15 | 08.06.2023 | Future city tech | VTO | Miroslav Holan</a:t>
            </a:r>
            <a:endParaRPr lang="cs-CZ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46914EB-8A13-3435-7731-7287A68E5A2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5E17FF8D-4323-BC84-68FB-8BD86FBE17D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239693" y="5659592"/>
            <a:ext cx="1002857" cy="10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367595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phic 13">
            <a:extLst>
              <a:ext uri="{FF2B5EF4-FFF2-40B4-BE49-F238E27FC236}">
                <a16:creationId xmlns:a16="http://schemas.microsoft.com/office/drawing/2014/main" id="{B8C2D215-3FCB-242D-A235-4DF1AF0721C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41200" y="5659200"/>
            <a:ext cx="1002857" cy="108000"/>
          </a:xfrm>
          <a:prstGeom prst="rect">
            <a:avLst/>
          </a:prstGeom>
        </p:spPr>
      </p:pic>
      <p:sp>
        <p:nvSpPr>
          <p:cNvPr id="20" name="Rectangle 8">
            <a:extLst>
              <a:ext uri="{FF2B5EF4-FFF2-40B4-BE49-F238E27FC236}">
                <a16:creationId xmlns:a16="http://schemas.microsoft.com/office/drawing/2014/main" id="{5459F715-91F7-0B24-F89E-0431C352C5F9}"/>
              </a:ext>
            </a:extLst>
          </p:cNvPr>
          <p:cNvSpPr/>
          <p:nvPr userDrawn="1"/>
        </p:nvSpPr>
        <p:spPr>
          <a:xfrm>
            <a:off x="0" y="-1"/>
            <a:ext cx="7132763" cy="6011863"/>
          </a:xfrm>
          <a:custGeom>
            <a:avLst/>
            <a:gdLst>
              <a:gd name="connsiteX0" fmla="*/ 0 w 7128000"/>
              <a:gd name="connsiteY0" fmla="*/ 0 h 6011863"/>
              <a:gd name="connsiteX1" fmla="*/ 7128000 w 7128000"/>
              <a:gd name="connsiteY1" fmla="*/ 0 h 6011863"/>
              <a:gd name="connsiteX2" fmla="*/ 7128000 w 7128000"/>
              <a:gd name="connsiteY2" fmla="*/ 6011863 h 6011863"/>
              <a:gd name="connsiteX3" fmla="*/ 0 w 7128000"/>
              <a:gd name="connsiteY3" fmla="*/ 6011863 h 6011863"/>
              <a:gd name="connsiteX4" fmla="*/ 0 w 7128000"/>
              <a:gd name="connsiteY4" fmla="*/ 0 h 6011863"/>
              <a:gd name="connsiteX0" fmla="*/ 0 w 7128000"/>
              <a:gd name="connsiteY0" fmla="*/ 0 h 6011863"/>
              <a:gd name="connsiteX1" fmla="*/ 7128000 w 7128000"/>
              <a:gd name="connsiteY1" fmla="*/ 0 h 6011863"/>
              <a:gd name="connsiteX2" fmla="*/ 5537325 w 7128000"/>
              <a:gd name="connsiteY2" fmla="*/ 6011863 h 6011863"/>
              <a:gd name="connsiteX3" fmla="*/ 0 w 7128000"/>
              <a:gd name="connsiteY3" fmla="*/ 6011863 h 6011863"/>
              <a:gd name="connsiteX4" fmla="*/ 0 w 7128000"/>
              <a:gd name="connsiteY4" fmla="*/ 0 h 6011863"/>
              <a:gd name="connsiteX0" fmla="*/ 0 w 7128000"/>
              <a:gd name="connsiteY0" fmla="*/ 0 h 6011863"/>
              <a:gd name="connsiteX1" fmla="*/ 7128000 w 7128000"/>
              <a:gd name="connsiteY1" fmla="*/ 0 h 6011863"/>
              <a:gd name="connsiteX2" fmla="*/ 5544469 w 7128000"/>
              <a:gd name="connsiteY2" fmla="*/ 6011863 h 6011863"/>
              <a:gd name="connsiteX3" fmla="*/ 0 w 7128000"/>
              <a:gd name="connsiteY3" fmla="*/ 6011863 h 6011863"/>
              <a:gd name="connsiteX4" fmla="*/ 0 w 7128000"/>
              <a:gd name="connsiteY4" fmla="*/ 0 h 6011863"/>
              <a:gd name="connsiteX0" fmla="*/ 0 w 7128000"/>
              <a:gd name="connsiteY0" fmla="*/ 0 h 6011863"/>
              <a:gd name="connsiteX1" fmla="*/ 7128000 w 7128000"/>
              <a:gd name="connsiteY1" fmla="*/ 0 h 6011863"/>
              <a:gd name="connsiteX2" fmla="*/ 5546850 w 7128000"/>
              <a:gd name="connsiteY2" fmla="*/ 6011863 h 6011863"/>
              <a:gd name="connsiteX3" fmla="*/ 0 w 7128000"/>
              <a:gd name="connsiteY3" fmla="*/ 6011863 h 6011863"/>
              <a:gd name="connsiteX4" fmla="*/ 0 w 7128000"/>
              <a:gd name="connsiteY4" fmla="*/ 0 h 6011863"/>
              <a:gd name="connsiteX0" fmla="*/ 0 w 7132763"/>
              <a:gd name="connsiteY0" fmla="*/ 0 h 6011863"/>
              <a:gd name="connsiteX1" fmla="*/ 7132763 w 7132763"/>
              <a:gd name="connsiteY1" fmla="*/ 0 h 6011863"/>
              <a:gd name="connsiteX2" fmla="*/ 5546850 w 7132763"/>
              <a:gd name="connsiteY2" fmla="*/ 6011863 h 6011863"/>
              <a:gd name="connsiteX3" fmla="*/ 0 w 7132763"/>
              <a:gd name="connsiteY3" fmla="*/ 6011863 h 6011863"/>
              <a:gd name="connsiteX4" fmla="*/ 0 w 7132763"/>
              <a:gd name="connsiteY4" fmla="*/ 0 h 6011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132763" h="6011863">
                <a:moveTo>
                  <a:pt x="0" y="0"/>
                </a:moveTo>
                <a:lnTo>
                  <a:pt x="7132763" y="0"/>
                </a:lnTo>
                <a:lnTo>
                  <a:pt x="5546850" y="6011863"/>
                </a:lnTo>
                <a:lnTo>
                  <a:pt x="0" y="601186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25000"/>
              <a:lumOff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noProof="0"/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003878D3-764A-09F2-651C-204CDCBB266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544469" y="0"/>
            <a:ext cx="5147304" cy="6011862"/>
          </a:xfrm>
          <a:custGeom>
            <a:avLst/>
            <a:gdLst>
              <a:gd name="connsiteX0" fmla="*/ 4361322 w 5147304"/>
              <a:gd name="connsiteY0" fmla="*/ 5682474 h 6011862"/>
              <a:gd name="connsiteX1" fmla="*/ 4425429 w 5147304"/>
              <a:gd name="connsiteY1" fmla="*/ 5682474 h 6011862"/>
              <a:gd name="connsiteX2" fmla="*/ 4442782 w 5147304"/>
              <a:gd name="connsiteY2" fmla="*/ 5699215 h 6011862"/>
              <a:gd name="connsiteX3" fmla="*/ 4442782 w 5147304"/>
              <a:gd name="connsiteY3" fmla="*/ 5727185 h 6011862"/>
              <a:gd name="connsiteX4" fmla="*/ 4425429 w 5147304"/>
              <a:gd name="connsiteY4" fmla="*/ 5743926 h 6011862"/>
              <a:gd name="connsiteX5" fmla="*/ 4361322 w 5147304"/>
              <a:gd name="connsiteY5" fmla="*/ 5743926 h 6011862"/>
              <a:gd name="connsiteX6" fmla="*/ 4146459 w 5147304"/>
              <a:gd name="connsiteY6" fmla="*/ 5682474 h 6011862"/>
              <a:gd name="connsiteX7" fmla="*/ 4200561 w 5147304"/>
              <a:gd name="connsiteY7" fmla="*/ 5682474 h 6011862"/>
              <a:gd name="connsiteX8" fmla="*/ 4216690 w 5147304"/>
              <a:gd name="connsiteY8" fmla="*/ 5698194 h 6011862"/>
              <a:gd name="connsiteX9" fmla="*/ 4216690 w 5147304"/>
              <a:gd name="connsiteY9" fmla="*/ 5728206 h 6011862"/>
              <a:gd name="connsiteX10" fmla="*/ 4200561 w 5147304"/>
              <a:gd name="connsiteY10" fmla="*/ 5743926 h 6011862"/>
              <a:gd name="connsiteX11" fmla="*/ 4146459 w 5147304"/>
              <a:gd name="connsiteY11" fmla="*/ 5743926 h 6011862"/>
              <a:gd name="connsiteX12" fmla="*/ 4130330 w 5147304"/>
              <a:gd name="connsiteY12" fmla="*/ 5728206 h 6011862"/>
              <a:gd name="connsiteX13" fmla="*/ 4130330 w 5147304"/>
              <a:gd name="connsiteY13" fmla="*/ 5698194 h 6011862"/>
              <a:gd name="connsiteX14" fmla="*/ 4146459 w 5147304"/>
              <a:gd name="connsiteY14" fmla="*/ 5682474 h 6011862"/>
              <a:gd name="connsiteX15" fmla="*/ 4619272 w 5147304"/>
              <a:gd name="connsiteY15" fmla="*/ 5679412 h 6011862"/>
              <a:gd name="connsiteX16" fmla="*/ 4645207 w 5147304"/>
              <a:gd name="connsiteY16" fmla="*/ 5725347 h 6011862"/>
              <a:gd name="connsiteX17" fmla="*/ 4593344 w 5147304"/>
              <a:gd name="connsiteY17" fmla="*/ 5725347 h 6011862"/>
              <a:gd name="connsiteX18" fmla="*/ 4601714 w 5147304"/>
              <a:gd name="connsiteY18" fmla="*/ 5659200 h 6011862"/>
              <a:gd name="connsiteX19" fmla="*/ 4541080 w 5147304"/>
              <a:gd name="connsiteY19" fmla="*/ 5767200 h 6011862"/>
              <a:gd name="connsiteX20" fmla="*/ 4569870 w 5147304"/>
              <a:gd name="connsiteY20" fmla="*/ 5767200 h 6011862"/>
              <a:gd name="connsiteX21" fmla="*/ 4592735 w 5147304"/>
              <a:gd name="connsiteY21" fmla="*/ 5726572 h 6011862"/>
              <a:gd name="connsiteX22" fmla="*/ 4606620 w 5147304"/>
              <a:gd name="connsiteY22" fmla="*/ 5748622 h 6011862"/>
              <a:gd name="connsiteX23" fmla="*/ 4658268 w 5147304"/>
              <a:gd name="connsiteY23" fmla="*/ 5748622 h 6011862"/>
              <a:gd name="connsiteX24" fmla="*/ 4668682 w 5147304"/>
              <a:gd name="connsiteY24" fmla="*/ 5767200 h 6011862"/>
              <a:gd name="connsiteX25" fmla="*/ 4698081 w 5147304"/>
              <a:gd name="connsiteY25" fmla="*/ 5767200 h 6011862"/>
              <a:gd name="connsiteX26" fmla="*/ 4637447 w 5147304"/>
              <a:gd name="connsiteY26" fmla="*/ 5659200 h 6011862"/>
              <a:gd name="connsiteX27" fmla="*/ 4335598 w 5147304"/>
              <a:gd name="connsiteY27" fmla="*/ 5659200 h 6011862"/>
              <a:gd name="connsiteX28" fmla="*/ 4335598 w 5147304"/>
              <a:gd name="connsiteY28" fmla="*/ 5767200 h 6011862"/>
              <a:gd name="connsiteX29" fmla="*/ 4426041 w 5147304"/>
              <a:gd name="connsiteY29" fmla="*/ 5767200 h 6011862"/>
              <a:gd name="connsiteX30" fmla="*/ 4468504 w 5147304"/>
              <a:gd name="connsiteY30" fmla="*/ 5725960 h 6011862"/>
              <a:gd name="connsiteX31" fmla="*/ 4468504 w 5147304"/>
              <a:gd name="connsiteY31" fmla="*/ 5700440 h 6011862"/>
              <a:gd name="connsiteX32" fmla="*/ 4426041 w 5147304"/>
              <a:gd name="connsiteY32" fmla="*/ 5659200 h 6011862"/>
              <a:gd name="connsiteX33" fmla="*/ 4145846 w 5147304"/>
              <a:gd name="connsiteY33" fmla="*/ 5659200 h 6011862"/>
              <a:gd name="connsiteX34" fmla="*/ 4104606 w 5147304"/>
              <a:gd name="connsiteY34" fmla="*/ 5699419 h 6011862"/>
              <a:gd name="connsiteX35" fmla="*/ 4104606 w 5147304"/>
              <a:gd name="connsiteY35" fmla="*/ 5726981 h 6011862"/>
              <a:gd name="connsiteX36" fmla="*/ 4145846 w 5147304"/>
              <a:gd name="connsiteY36" fmla="*/ 5767200 h 6011862"/>
              <a:gd name="connsiteX37" fmla="*/ 4201173 w 5147304"/>
              <a:gd name="connsiteY37" fmla="*/ 5767200 h 6011862"/>
              <a:gd name="connsiteX38" fmla="*/ 4242414 w 5147304"/>
              <a:gd name="connsiteY38" fmla="*/ 5726981 h 6011862"/>
              <a:gd name="connsiteX39" fmla="*/ 4242414 w 5147304"/>
              <a:gd name="connsiteY39" fmla="*/ 5699419 h 6011862"/>
              <a:gd name="connsiteX40" fmla="*/ 4201173 w 5147304"/>
              <a:gd name="connsiteY40" fmla="*/ 5659200 h 6011862"/>
              <a:gd name="connsiteX41" fmla="*/ 3902818 w 5147304"/>
              <a:gd name="connsiteY41" fmla="*/ 5659200 h 6011862"/>
              <a:gd name="connsiteX42" fmla="*/ 3902818 w 5147304"/>
              <a:gd name="connsiteY42" fmla="*/ 5767200 h 6011862"/>
              <a:gd name="connsiteX43" fmla="*/ 3928543 w 5147304"/>
              <a:gd name="connsiteY43" fmla="*/ 5767200 h 6011862"/>
              <a:gd name="connsiteX44" fmla="*/ 3928543 w 5147304"/>
              <a:gd name="connsiteY44" fmla="*/ 5724531 h 6011862"/>
              <a:gd name="connsiteX45" fmla="*/ 3961617 w 5147304"/>
              <a:gd name="connsiteY45" fmla="*/ 5724531 h 6011862"/>
              <a:gd name="connsiteX46" fmla="*/ 4005919 w 5147304"/>
              <a:gd name="connsiteY46" fmla="*/ 5767200 h 6011862"/>
              <a:gd name="connsiteX47" fmla="*/ 4042055 w 5147304"/>
              <a:gd name="connsiteY47" fmla="*/ 5767200 h 6011862"/>
              <a:gd name="connsiteX48" fmla="*/ 3984686 w 5147304"/>
              <a:gd name="connsiteY48" fmla="*/ 5712894 h 6011862"/>
              <a:gd name="connsiteX49" fmla="*/ 4041035 w 5147304"/>
              <a:gd name="connsiteY49" fmla="*/ 5659200 h 6011862"/>
              <a:gd name="connsiteX50" fmla="*/ 4006940 w 5147304"/>
              <a:gd name="connsiteY50" fmla="*/ 5659200 h 6011862"/>
              <a:gd name="connsiteX51" fmla="*/ 3962637 w 5147304"/>
              <a:gd name="connsiteY51" fmla="*/ 5701257 h 6011862"/>
              <a:gd name="connsiteX52" fmla="*/ 3928543 w 5147304"/>
              <a:gd name="connsiteY52" fmla="*/ 5701257 h 6011862"/>
              <a:gd name="connsiteX53" fmla="*/ 3928543 w 5147304"/>
              <a:gd name="connsiteY53" fmla="*/ 5659200 h 6011862"/>
              <a:gd name="connsiteX54" fmla="*/ 3734218 w 5147304"/>
              <a:gd name="connsiteY54" fmla="*/ 5659200 h 6011862"/>
              <a:gd name="connsiteX55" fmla="*/ 3748918 w 5147304"/>
              <a:gd name="connsiteY55" fmla="*/ 5681657 h 6011862"/>
              <a:gd name="connsiteX56" fmla="*/ 3808737 w 5147304"/>
              <a:gd name="connsiteY56" fmla="*/ 5681657 h 6011862"/>
              <a:gd name="connsiteX57" fmla="*/ 3823028 w 5147304"/>
              <a:gd name="connsiteY57" fmla="*/ 5659200 h 6011862"/>
              <a:gd name="connsiteX58" fmla="*/ 3721969 w 5147304"/>
              <a:gd name="connsiteY58" fmla="*/ 5659200 h 6011862"/>
              <a:gd name="connsiteX59" fmla="*/ 3698286 w 5147304"/>
              <a:gd name="connsiteY59" fmla="*/ 5684107 h 6011862"/>
              <a:gd name="connsiteX60" fmla="*/ 3698286 w 5147304"/>
              <a:gd name="connsiteY60" fmla="*/ 5693090 h 6011862"/>
              <a:gd name="connsiteX61" fmla="*/ 3728910 w 5147304"/>
              <a:gd name="connsiteY61" fmla="*/ 5723306 h 6011862"/>
              <a:gd name="connsiteX62" fmla="*/ 3800162 w 5147304"/>
              <a:gd name="connsiteY62" fmla="*/ 5723306 h 6011862"/>
              <a:gd name="connsiteX63" fmla="*/ 3800162 w 5147304"/>
              <a:gd name="connsiteY63" fmla="*/ 5736576 h 6011862"/>
              <a:gd name="connsiteX64" fmla="*/ 3792404 w 5147304"/>
              <a:gd name="connsiteY64" fmla="*/ 5744334 h 6011862"/>
              <a:gd name="connsiteX65" fmla="*/ 3709515 w 5147304"/>
              <a:gd name="connsiteY65" fmla="*/ 5744334 h 6011862"/>
              <a:gd name="connsiteX66" fmla="*/ 3695224 w 5147304"/>
              <a:gd name="connsiteY66" fmla="*/ 5767200 h 6011862"/>
              <a:gd name="connsiteX67" fmla="*/ 3794854 w 5147304"/>
              <a:gd name="connsiteY67" fmla="*/ 5767200 h 6011862"/>
              <a:gd name="connsiteX68" fmla="*/ 3825477 w 5147304"/>
              <a:gd name="connsiteY68" fmla="*/ 5736985 h 6011862"/>
              <a:gd name="connsiteX69" fmla="*/ 3825477 w 5147304"/>
              <a:gd name="connsiteY69" fmla="*/ 5725143 h 6011862"/>
              <a:gd name="connsiteX70" fmla="*/ 3800366 w 5147304"/>
              <a:gd name="connsiteY70" fmla="*/ 5700440 h 6011862"/>
              <a:gd name="connsiteX71" fmla="*/ 3731360 w 5147304"/>
              <a:gd name="connsiteY71" fmla="*/ 5700440 h 6011862"/>
              <a:gd name="connsiteX72" fmla="*/ 3723602 w 5147304"/>
              <a:gd name="connsiteY72" fmla="*/ 5692682 h 6011862"/>
              <a:gd name="connsiteX73" fmla="*/ 3723602 w 5147304"/>
              <a:gd name="connsiteY73" fmla="*/ 5659200 h 6011862"/>
              <a:gd name="connsiteX74" fmla="*/ 1583531 w 5147304"/>
              <a:gd name="connsiteY74" fmla="*/ 0 h 6011862"/>
              <a:gd name="connsiteX75" fmla="*/ 5147304 w 5147304"/>
              <a:gd name="connsiteY75" fmla="*/ 0 h 6011862"/>
              <a:gd name="connsiteX76" fmla="*/ 5147304 w 5147304"/>
              <a:gd name="connsiteY76" fmla="*/ 6011862 h 6011862"/>
              <a:gd name="connsiteX77" fmla="*/ 0 w 5147304"/>
              <a:gd name="connsiteY77" fmla="*/ 6011862 h 60118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</a:cxnLst>
            <a:rect l="l" t="t" r="r" b="b"/>
            <a:pathLst>
              <a:path w="5147304" h="6011862">
                <a:moveTo>
                  <a:pt x="4361322" y="5682474"/>
                </a:moveTo>
                <a:lnTo>
                  <a:pt x="4425429" y="5682474"/>
                </a:lnTo>
                <a:cubicBezTo>
                  <a:pt x="4436045" y="5682474"/>
                  <a:pt x="4442782" y="5689007"/>
                  <a:pt x="4442782" y="5699215"/>
                </a:cubicBezTo>
                <a:lnTo>
                  <a:pt x="4442782" y="5727185"/>
                </a:lnTo>
                <a:cubicBezTo>
                  <a:pt x="4442782" y="5737393"/>
                  <a:pt x="4436045" y="5743926"/>
                  <a:pt x="4425429" y="5743926"/>
                </a:cubicBezTo>
                <a:lnTo>
                  <a:pt x="4361322" y="5743926"/>
                </a:lnTo>
                <a:close/>
                <a:moveTo>
                  <a:pt x="4146459" y="5682474"/>
                </a:moveTo>
                <a:lnTo>
                  <a:pt x="4200561" y="5682474"/>
                </a:lnTo>
                <a:cubicBezTo>
                  <a:pt x="4210360" y="5682474"/>
                  <a:pt x="4216690" y="5688599"/>
                  <a:pt x="4216690" y="5698194"/>
                </a:cubicBezTo>
                <a:lnTo>
                  <a:pt x="4216690" y="5728206"/>
                </a:lnTo>
                <a:cubicBezTo>
                  <a:pt x="4216690" y="5737801"/>
                  <a:pt x="4210361" y="5743926"/>
                  <a:pt x="4200561" y="5743926"/>
                </a:cubicBezTo>
                <a:lnTo>
                  <a:pt x="4146459" y="5743926"/>
                </a:lnTo>
                <a:cubicBezTo>
                  <a:pt x="4136659" y="5743926"/>
                  <a:pt x="4130330" y="5737801"/>
                  <a:pt x="4130330" y="5728206"/>
                </a:cubicBezTo>
                <a:lnTo>
                  <a:pt x="4130330" y="5698194"/>
                </a:lnTo>
                <a:cubicBezTo>
                  <a:pt x="4130330" y="5688599"/>
                  <a:pt x="4136659" y="5682474"/>
                  <a:pt x="4146459" y="5682474"/>
                </a:cubicBezTo>
                <a:close/>
                <a:moveTo>
                  <a:pt x="4619272" y="5679412"/>
                </a:moveTo>
                <a:lnTo>
                  <a:pt x="4645207" y="5725347"/>
                </a:lnTo>
                <a:lnTo>
                  <a:pt x="4593344" y="5725347"/>
                </a:lnTo>
                <a:close/>
                <a:moveTo>
                  <a:pt x="4601714" y="5659200"/>
                </a:moveTo>
                <a:lnTo>
                  <a:pt x="4541080" y="5767200"/>
                </a:lnTo>
                <a:lnTo>
                  <a:pt x="4569870" y="5767200"/>
                </a:lnTo>
                <a:lnTo>
                  <a:pt x="4592735" y="5726572"/>
                </a:lnTo>
                <a:lnTo>
                  <a:pt x="4606620" y="5748622"/>
                </a:lnTo>
                <a:lnTo>
                  <a:pt x="4658268" y="5748622"/>
                </a:lnTo>
                <a:lnTo>
                  <a:pt x="4668682" y="5767200"/>
                </a:lnTo>
                <a:lnTo>
                  <a:pt x="4698081" y="5767200"/>
                </a:lnTo>
                <a:lnTo>
                  <a:pt x="4637447" y="5659200"/>
                </a:lnTo>
                <a:close/>
                <a:moveTo>
                  <a:pt x="4335598" y="5659200"/>
                </a:moveTo>
                <a:lnTo>
                  <a:pt x="4335598" y="5767200"/>
                </a:lnTo>
                <a:lnTo>
                  <a:pt x="4426041" y="5767200"/>
                </a:lnTo>
                <a:cubicBezTo>
                  <a:pt x="4452990" y="5767200"/>
                  <a:pt x="4468504" y="5751684"/>
                  <a:pt x="4468504" y="5725960"/>
                </a:cubicBezTo>
                <a:lnTo>
                  <a:pt x="4468504" y="5700440"/>
                </a:lnTo>
                <a:cubicBezTo>
                  <a:pt x="4468504" y="5674716"/>
                  <a:pt x="4452990" y="5659200"/>
                  <a:pt x="4426041" y="5659200"/>
                </a:cubicBezTo>
                <a:close/>
                <a:moveTo>
                  <a:pt x="4145846" y="5659200"/>
                </a:moveTo>
                <a:cubicBezTo>
                  <a:pt x="4119713" y="5659200"/>
                  <a:pt x="4104606" y="5674308"/>
                  <a:pt x="4104606" y="5699419"/>
                </a:cubicBezTo>
                <a:lnTo>
                  <a:pt x="4104606" y="5726981"/>
                </a:lnTo>
                <a:cubicBezTo>
                  <a:pt x="4104606" y="5752092"/>
                  <a:pt x="4119713" y="5767200"/>
                  <a:pt x="4145846" y="5767200"/>
                </a:cubicBezTo>
                <a:lnTo>
                  <a:pt x="4201173" y="5767200"/>
                </a:lnTo>
                <a:cubicBezTo>
                  <a:pt x="4227305" y="5767200"/>
                  <a:pt x="4242414" y="5752092"/>
                  <a:pt x="4242414" y="5726981"/>
                </a:cubicBezTo>
                <a:lnTo>
                  <a:pt x="4242414" y="5699419"/>
                </a:lnTo>
                <a:cubicBezTo>
                  <a:pt x="4242414" y="5674308"/>
                  <a:pt x="4227306" y="5659200"/>
                  <a:pt x="4201173" y="5659200"/>
                </a:cubicBezTo>
                <a:close/>
                <a:moveTo>
                  <a:pt x="3902818" y="5659200"/>
                </a:moveTo>
                <a:lnTo>
                  <a:pt x="3902818" y="5767200"/>
                </a:lnTo>
                <a:lnTo>
                  <a:pt x="3928543" y="5767200"/>
                </a:lnTo>
                <a:lnTo>
                  <a:pt x="3928543" y="5724531"/>
                </a:lnTo>
                <a:lnTo>
                  <a:pt x="3961617" y="5724531"/>
                </a:lnTo>
                <a:lnTo>
                  <a:pt x="4005919" y="5767200"/>
                </a:lnTo>
                <a:lnTo>
                  <a:pt x="4042055" y="5767200"/>
                </a:lnTo>
                <a:lnTo>
                  <a:pt x="3984686" y="5712894"/>
                </a:lnTo>
                <a:lnTo>
                  <a:pt x="4041035" y="5659200"/>
                </a:lnTo>
                <a:lnTo>
                  <a:pt x="4006940" y="5659200"/>
                </a:lnTo>
                <a:lnTo>
                  <a:pt x="3962637" y="5701257"/>
                </a:lnTo>
                <a:lnTo>
                  <a:pt x="3928543" y="5701257"/>
                </a:lnTo>
                <a:lnTo>
                  <a:pt x="3928543" y="5659200"/>
                </a:lnTo>
                <a:close/>
                <a:moveTo>
                  <a:pt x="3734218" y="5659200"/>
                </a:moveTo>
                <a:lnTo>
                  <a:pt x="3748918" y="5681657"/>
                </a:lnTo>
                <a:lnTo>
                  <a:pt x="3808737" y="5681657"/>
                </a:lnTo>
                <a:lnTo>
                  <a:pt x="3823028" y="5659200"/>
                </a:lnTo>
                <a:close/>
                <a:moveTo>
                  <a:pt x="3721969" y="5659200"/>
                </a:moveTo>
                <a:cubicBezTo>
                  <a:pt x="3707474" y="5659200"/>
                  <a:pt x="3698286" y="5668591"/>
                  <a:pt x="3698286" y="5684107"/>
                </a:cubicBezTo>
                <a:lnTo>
                  <a:pt x="3698286" y="5693090"/>
                </a:lnTo>
                <a:cubicBezTo>
                  <a:pt x="3698286" y="5713915"/>
                  <a:pt x="3707678" y="5723306"/>
                  <a:pt x="3728910" y="5723306"/>
                </a:cubicBezTo>
                <a:lnTo>
                  <a:pt x="3800162" y="5723306"/>
                </a:lnTo>
                <a:lnTo>
                  <a:pt x="3800162" y="5736576"/>
                </a:lnTo>
                <a:cubicBezTo>
                  <a:pt x="3800162" y="5741272"/>
                  <a:pt x="3797100" y="5744334"/>
                  <a:pt x="3792404" y="5744334"/>
                </a:cubicBezTo>
                <a:lnTo>
                  <a:pt x="3709515" y="5744334"/>
                </a:lnTo>
                <a:lnTo>
                  <a:pt x="3695224" y="5767200"/>
                </a:lnTo>
                <a:lnTo>
                  <a:pt x="3794854" y="5767200"/>
                </a:lnTo>
                <a:cubicBezTo>
                  <a:pt x="3815474" y="5767200"/>
                  <a:pt x="3825477" y="5757196"/>
                  <a:pt x="3825477" y="5736985"/>
                </a:cubicBezTo>
                <a:lnTo>
                  <a:pt x="3825477" y="5725143"/>
                </a:lnTo>
                <a:cubicBezTo>
                  <a:pt x="3825477" y="5709831"/>
                  <a:pt x="3816086" y="5700440"/>
                  <a:pt x="3800366" y="5700440"/>
                </a:cubicBezTo>
                <a:lnTo>
                  <a:pt x="3731360" y="5700440"/>
                </a:lnTo>
                <a:cubicBezTo>
                  <a:pt x="3726665" y="5700440"/>
                  <a:pt x="3723602" y="5697378"/>
                  <a:pt x="3723602" y="5692682"/>
                </a:cubicBezTo>
                <a:lnTo>
                  <a:pt x="3723602" y="5659200"/>
                </a:lnTo>
                <a:close/>
                <a:moveTo>
                  <a:pt x="1583531" y="0"/>
                </a:moveTo>
                <a:lnTo>
                  <a:pt x="5147304" y="0"/>
                </a:lnTo>
                <a:lnTo>
                  <a:pt x="5147304" y="6011862"/>
                </a:lnTo>
                <a:lnTo>
                  <a:pt x="0" y="6011862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algn="ctr">
              <a:buFontTx/>
              <a:buNone/>
              <a:defRPr>
                <a:solidFill>
                  <a:schemeClr val="accent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Obrázek</a:t>
            </a:r>
          </a:p>
        </p:txBody>
      </p: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264"/>
          <a:ext cx="1587" cy="12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9" imgH="398" progId="TCLayout.ActiveDocument.1">
                  <p:embed/>
                </p:oleObj>
              </mc:Choice>
              <mc:Fallback>
                <p:oleObj name="think-cell Slide" r:id="rId5" imgW="399" imgH="398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264"/>
                        <a:ext cx="1587" cy="12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 userDrawn="1">
            <p:ph type="title" hasCustomPrompt="1"/>
          </p:nvPr>
        </p:nvSpPr>
        <p:spPr>
          <a:xfrm>
            <a:off x="449263" y="1314450"/>
            <a:ext cx="4968875" cy="2520000"/>
          </a:xfrm>
        </p:spPr>
        <p:txBody>
          <a:bodyPr anchor="t" anchorCtr="0">
            <a:normAutofit/>
          </a:bodyPr>
          <a:lstStyle>
            <a:lvl1pPr>
              <a:lnSpc>
                <a:spcPts val="4000"/>
              </a:lnSpc>
              <a:defRPr sz="4000" b="0" cap="none" baseline="0">
                <a:solidFill>
                  <a:schemeClr val="accent1"/>
                </a:solidFill>
                <a:latin typeface="SKODA Next Light" panose="020B0304020603020204" pitchFamily="34" charset="0"/>
              </a:defRPr>
            </a:lvl1pPr>
          </a:lstStyle>
          <a:p>
            <a:r>
              <a:rPr lang="cs-CZ" noProof="0"/>
              <a:t>Citát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A95BF692-E6D8-7522-3939-8E0A92A62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46000" y="5598000"/>
            <a:ext cx="7289813" cy="18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S15 | 08.06.2023 | Future city tech | VTO | Miroslav Holan</a:t>
            </a:r>
            <a:endParaRPr lang="cs-CZ" noProof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63C25813-455F-091C-F4E2-B3972C902DC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4D773F9-8A50-B2D5-3B6A-3C8C10261F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4014000"/>
            <a:ext cx="4968000" cy="1332000"/>
          </a:xfrm>
        </p:spPr>
        <p:txBody>
          <a:bodyPr vert="horz" lIns="0" tIns="0" rIns="0" bIns="0" rtlCol="0" anchor="t" anchorCtr="0">
            <a:normAutofit/>
          </a:bodyPr>
          <a:lstStyle>
            <a:lvl1pPr marL="0" indent="0">
              <a:buNone/>
              <a:defRPr lang="en-US" b="0" cap="none" baseline="0" dirty="0" smtClean="0">
                <a:solidFill>
                  <a:schemeClr val="accent1"/>
                </a:solidFill>
              </a:defRPr>
            </a:lvl1pPr>
            <a:lvl2pPr>
              <a:defRPr lang="en-US" sz="2100" dirty="0" smtClean="0">
                <a:latin typeface="+mn-lt"/>
                <a:ea typeface="+mn-ea"/>
                <a:cs typeface="+mn-cs"/>
              </a:defRPr>
            </a:lvl2pPr>
            <a:lvl3pPr>
              <a:defRPr lang="en-US" sz="2100" dirty="0" smtClean="0">
                <a:latin typeface="+mn-lt"/>
                <a:ea typeface="+mn-ea"/>
                <a:cs typeface="+mn-cs"/>
              </a:defRPr>
            </a:lvl3pPr>
            <a:lvl4pPr>
              <a:defRPr lang="en-US" sz="2100" dirty="0" smtClean="0">
                <a:latin typeface="+mn-lt"/>
                <a:ea typeface="+mn-ea"/>
                <a:cs typeface="+mn-cs"/>
              </a:defRPr>
            </a:lvl4pPr>
            <a:lvl5pPr marL="1905487" indent="0">
              <a:buNone/>
              <a:defRPr lang="en-GB" sz="2100" dirty="0">
                <a:latin typeface="+mn-lt"/>
                <a:ea typeface="+mn-ea"/>
                <a:cs typeface="+mn-cs"/>
              </a:defRPr>
            </a:lvl5pPr>
          </a:lstStyle>
          <a:p>
            <a:pPr marL="105750" lvl="0" indent="-285750">
              <a:lnSpc>
                <a:spcPts val="1600"/>
              </a:lnSpc>
              <a:spcBef>
                <a:spcPct val="0"/>
              </a:spcBef>
            </a:pPr>
            <a:r>
              <a:rPr lang="cs-CZ" noProof="0"/>
              <a:t>Škoda Auto</a:t>
            </a:r>
          </a:p>
        </p:txBody>
      </p:sp>
    </p:spTree>
    <p:extLst>
      <p:ext uri="{BB962C8B-B14F-4D97-AF65-F5344CB8AC3E}">
        <p14:creationId xmlns:p14="http://schemas.microsoft.com/office/powerpoint/2010/main" val="276258170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BFF7A7E-2F88-BCC5-C055-008483D90682}"/>
              </a:ext>
            </a:extLst>
          </p:cNvPr>
          <p:cNvSpPr/>
          <p:nvPr userDrawn="1"/>
        </p:nvSpPr>
        <p:spPr>
          <a:xfrm>
            <a:off x="0" y="0"/>
            <a:ext cx="5220000" cy="1404000"/>
          </a:xfrm>
          <a:custGeom>
            <a:avLst/>
            <a:gdLst>
              <a:gd name="connsiteX0" fmla="*/ 0 w 5220000"/>
              <a:gd name="connsiteY0" fmla="*/ 0 h 1404000"/>
              <a:gd name="connsiteX1" fmla="*/ 5220000 w 5220000"/>
              <a:gd name="connsiteY1" fmla="*/ 0 h 1404000"/>
              <a:gd name="connsiteX2" fmla="*/ 5220000 w 5220000"/>
              <a:gd name="connsiteY2" fmla="*/ 1404000 h 1404000"/>
              <a:gd name="connsiteX3" fmla="*/ 0 w 5220000"/>
              <a:gd name="connsiteY3" fmla="*/ 1404000 h 1404000"/>
              <a:gd name="connsiteX4" fmla="*/ 0 w 5220000"/>
              <a:gd name="connsiteY4" fmla="*/ 0 h 1404000"/>
              <a:gd name="connsiteX0" fmla="*/ 0 w 5220000"/>
              <a:gd name="connsiteY0" fmla="*/ 0 h 1404000"/>
              <a:gd name="connsiteX1" fmla="*/ 5220000 w 5220000"/>
              <a:gd name="connsiteY1" fmla="*/ 0 h 1404000"/>
              <a:gd name="connsiteX2" fmla="*/ 5220000 w 5220000"/>
              <a:gd name="connsiteY2" fmla="*/ 1404000 h 1404000"/>
              <a:gd name="connsiteX3" fmla="*/ 0 w 5220000"/>
              <a:gd name="connsiteY3" fmla="*/ 1404000 h 1404000"/>
              <a:gd name="connsiteX4" fmla="*/ 0 w 5220000"/>
              <a:gd name="connsiteY4" fmla="*/ 0 h 1404000"/>
              <a:gd name="connsiteX0" fmla="*/ 0 w 5220000"/>
              <a:gd name="connsiteY0" fmla="*/ 0 h 1404000"/>
              <a:gd name="connsiteX1" fmla="*/ 5220000 w 5220000"/>
              <a:gd name="connsiteY1" fmla="*/ 0 h 1404000"/>
              <a:gd name="connsiteX2" fmla="*/ 0 w 5220000"/>
              <a:gd name="connsiteY2" fmla="*/ 1404000 h 1404000"/>
              <a:gd name="connsiteX3" fmla="*/ 0 w 5220000"/>
              <a:gd name="connsiteY3" fmla="*/ 0 h 140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20000" h="1404000">
                <a:moveTo>
                  <a:pt x="0" y="0"/>
                </a:moveTo>
                <a:lnTo>
                  <a:pt x="5220000" y="0"/>
                </a:lnTo>
                <a:lnTo>
                  <a:pt x="0" y="1404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25000"/>
              <a:lumOff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noProof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CBDC93D-8677-8F98-0413-5586CAD9ECEE}"/>
              </a:ext>
            </a:extLst>
          </p:cNvPr>
          <p:cNvSpPr/>
          <p:nvPr userDrawn="1"/>
        </p:nvSpPr>
        <p:spPr>
          <a:xfrm>
            <a:off x="8136000" y="0"/>
            <a:ext cx="2556000" cy="6011863"/>
          </a:xfrm>
          <a:custGeom>
            <a:avLst/>
            <a:gdLst>
              <a:gd name="connsiteX0" fmla="*/ 0 w 2556000"/>
              <a:gd name="connsiteY0" fmla="*/ 0 h 6011863"/>
              <a:gd name="connsiteX1" fmla="*/ 2556000 w 2556000"/>
              <a:gd name="connsiteY1" fmla="*/ 0 h 6011863"/>
              <a:gd name="connsiteX2" fmla="*/ 2556000 w 2556000"/>
              <a:gd name="connsiteY2" fmla="*/ 6011863 h 6011863"/>
              <a:gd name="connsiteX3" fmla="*/ 0 w 2556000"/>
              <a:gd name="connsiteY3" fmla="*/ 6011863 h 6011863"/>
              <a:gd name="connsiteX4" fmla="*/ 0 w 2556000"/>
              <a:gd name="connsiteY4" fmla="*/ 0 h 6011863"/>
              <a:gd name="connsiteX0" fmla="*/ 1600200 w 2556000"/>
              <a:gd name="connsiteY0" fmla="*/ 0 h 6011863"/>
              <a:gd name="connsiteX1" fmla="*/ 2556000 w 2556000"/>
              <a:gd name="connsiteY1" fmla="*/ 0 h 6011863"/>
              <a:gd name="connsiteX2" fmla="*/ 2556000 w 2556000"/>
              <a:gd name="connsiteY2" fmla="*/ 6011863 h 6011863"/>
              <a:gd name="connsiteX3" fmla="*/ 0 w 2556000"/>
              <a:gd name="connsiteY3" fmla="*/ 6011863 h 6011863"/>
              <a:gd name="connsiteX4" fmla="*/ 1600200 w 2556000"/>
              <a:gd name="connsiteY4" fmla="*/ 0 h 6011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56000" h="6011863">
                <a:moveTo>
                  <a:pt x="1600200" y="0"/>
                </a:moveTo>
                <a:lnTo>
                  <a:pt x="2556000" y="0"/>
                </a:lnTo>
                <a:lnTo>
                  <a:pt x="2556000" y="6011863"/>
                </a:lnTo>
                <a:lnTo>
                  <a:pt x="0" y="6011863"/>
                </a:lnTo>
                <a:lnTo>
                  <a:pt x="1600200" y="0"/>
                </a:lnTo>
                <a:close/>
              </a:path>
            </a:pathLst>
          </a:custGeom>
          <a:solidFill>
            <a:schemeClr val="accent1">
              <a:lumMod val="25000"/>
              <a:lumOff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noProof="0"/>
          </a:p>
        </p:txBody>
      </p: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264"/>
          <a:ext cx="1587" cy="12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9" imgH="398" progId="TCLayout.ActiveDocument.1">
                  <p:embed/>
                </p:oleObj>
              </mc:Choice>
              <mc:Fallback>
                <p:oleObj name="think-cell Slide" r:id="rId3" imgW="399" imgH="398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264"/>
                        <a:ext cx="1587" cy="12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 userDrawn="1">
            <p:ph type="title" hasCustomPrompt="1"/>
          </p:nvPr>
        </p:nvSpPr>
        <p:spPr>
          <a:xfrm>
            <a:off x="449263" y="1926000"/>
            <a:ext cx="7686550" cy="3420000"/>
          </a:xfrm>
        </p:spPr>
        <p:txBody>
          <a:bodyPr anchor="t" anchorCtr="0">
            <a:noAutofit/>
          </a:bodyPr>
          <a:lstStyle>
            <a:lvl1pPr>
              <a:lnSpc>
                <a:spcPts val="8000"/>
              </a:lnSpc>
              <a:defRPr sz="8000" b="0" cap="none" baseline="0">
                <a:solidFill>
                  <a:schemeClr val="accent1"/>
                </a:solidFill>
                <a:latin typeface="SKODA Next Light" panose="020B0304020603020204" pitchFamily="34" charset="0"/>
              </a:defRPr>
            </a:lvl1pPr>
          </a:lstStyle>
          <a:p>
            <a:r>
              <a:rPr lang="cs-CZ" noProof="0"/>
              <a:t>Děkuji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A95BF692-E6D8-7522-3939-8E0A92A62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46000" y="5598000"/>
            <a:ext cx="7289813" cy="18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S15 | 08.06.2023 | Future city tech | VTO | Miroslav Holan</a:t>
            </a:r>
            <a:endParaRPr lang="cs-CZ" noProof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63C25813-455F-091C-F4E2-B3972C902DC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6BC2BEFD-A572-F137-E343-CB35B300FA3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239693" y="5659592"/>
            <a:ext cx="1002857" cy="10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981256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4">
            <a:extLst>
              <a:ext uri="{FF2B5EF4-FFF2-40B4-BE49-F238E27FC236}">
                <a16:creationId xmlns:a16="http://schemas.microsoft.com/office/drawing/2014/main" id="{A2985358-9CAA-B6FA-88CF-228B2CA9D80F}"/>
              </a:ext>
            </a:extLst>
          </p:cNvPr>
          <p:cNvSpPr/>
          <p:nvPr userDrawn="1"/>
        </p:nvSpPr>
        <p:spPr>
          <a:xfrm>
            <a:off x="0" y="0"/>
            <a:ext cx="3762375" cy="1009650"/>
          </a:xfrm>
          <a:custGeom>
            <a:avLst/>
            <a:gdLst>
              <a:gd name="connsiteX0" fmla="*/ 0 w 5220000"/>
              <a:gd name="connsiteY0" fmla="*/ 0 h 1404000"/>
              <a:gd name="connsiteX1" fmla="*/ 5220000 w 5220000"/>
              <a:gd name="connsiteY1" fmla="*/ 0 h 1404000"/>
              <a:gd name="connsiteX2" fmla="*/ 5220000 w 5220000"/>
              <a:gd name="connsiteY2" fmla="*/ 1404000 h 1404000"/>
              <a:gd name="connsiteX3" fmla="*/ 0 w 5220000"/>
              <a:gd name="connsiteY3" fmla="*/ 1404000 h 1404000"/>
              <a:gd name="connsiteX4" fmla="*/ 0 w 5220000"/>
              <a:gd name="connsiteY4" fmla="*/ 0 h 1404000"/>
              <a:gd name="connsiteX0" fmla="*/ 0 w 5220000"/>
              <a:gd name="connsiteY0" fmla="*/ 0 h 1404000"/>
              <a:gd name="connsiteX1" fmla="*/ 5220000 w 5220000"/>
              <a:gd name="connsiteY1" fmla="*/ 0 h 1404000"/>
              <a:gd name="connsiteX2" fmla="*/ 5220000 w 5220000"/>
              <a:gd name="connsiteY2" fmla="*/ 1404000 h 1404000"/>
              <a:gd name="connsiteX3" fmla="*/ 0 w 5220000"/>
              <a:gd name="connsiteY3" fmla="*/ 1404000 h 1404000"/>
              <a:gd name="connsiteX4" fmla="*/ 0 w 5220000"/>
              <a:gd name="connsiteY4" fmla="*/ 0 h 1404000"/>
              <a:gd name="connsiteX0" fmla="*/ 0 w 5220000"/>
              <a:gd name="connsiteY0" fmla="*/ 0 h 1404000"/>
              <a:gd name="connsiteX1" fmla="*/ 5220000 w 5220000"/>
              <a:gd name="connsiteY1" fmla="*/ 0 h 1404000"/>
              <a:gd name="connsiteX2" fmla="*/ 0 w 5220000"/>
              <a:gd name="connsiteY2" fmla="*/ 1404000 h 1404000"/>
              <a:gd name="connsiteX3" fmla="*/ 0 w 5220000"/>
              <a:gd name="connsiteY3" fmla="*/ 0 h 140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20000" h="1404000">
                <a:moveTo>
                  <a:pt x="0" y="0"/>
                </a:moveTo>
                <a:lnTo>
                  <a:pt x="5220000" y="0"/>
                </a:lnTo>
                <a:lnTo>
                  <a:pt x="0" y="1404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25000"/>
              <a:lumOff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B7243EA-87C5-1D89-7207-56A4E40BAA96}"/>
              </a:ext>
            </a:extLst>
          </p:cNvPr>
          <p:cNvSpPr/>
          <p:nvPr userDrawn="1"/>
        </p:nvSpPr>
        <p:spPr>
          <a:xfrm>
            <a:off x="5544000" y="0"/>
            <a:ext cx="5148000" cy="6011863"/>
          </a:xfrm>
          <a:custGeom>
            <a:avLst/>
            <a:gdLst>
              <a:gd name="connsiteX0" fmla="*/ 0 w 5148000"/>
              <a:gd name="connsiteY0" fmla="*/ 0 h 6011863"/>
              <a:gd name="connsiteX1" fmla="*/ 5148000 w 5148000"/>
              <a:gd name="connsiteY1" fmla="*/ 0 h 6011863"/>
              <a:gd name="connsiteX2" fmla="*/ 5148000 w 5148000"/>
              <a:gd name="connsiteY2" fmla="*/ 6011863 h 6011863"/>
              <a:gd name="connsiteX3" fmla="*/ 0 w 5148000"/>
              <a:gd name="connsiteY3" fmla="*/ 6011863 h 6011863"/>
              <a:gd name="connsiteX4" fmla="*/ 0 w 5148000"/>
              <a:gd name="connsiteY4" fmla="*/ 0 h 6011863"/>
              <a:gd name="connsiteX0" fmla="*/ 1609725 w 5148000"/>
              <a:gd name="connsiteY0" fmla="*/ 0 h 6011863"/>
              <a:gd name="connsiteX1" fmla="*/ 5148000 w 5148000"/>
              <a:gd name="connsiteY1" fmla="*/ 0 h 6011863"/>
              <a:gd name="connsiteX2" fmla="*/ 5148000 w 5148000"/>
              <a:gd name="connsiteY2" fmla="*/ 6011863 h 6011863"/>
              <a:gd name="connsiteX3" fmla="*/ 0 w 5148000"/>
              <a:gd name="connsiteY3" fmla="*/ 6011863 h 6011863"/>
              <a:gd name="connsiteX4" fmla="*/ 1609725 w 5148000"/>
              <a:gd name="connsiteY4" fmla="*/ 0 h 6011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48000" h="6011863">
                <a:moveTo>
                  <a:pt x="1609725" y="0"/>
                </a:moveTo>
                <a:lnTo>
                  <a:pt x="5148000" y="0"/>
                </a:lnTo>
                <a:lnTo>
                  <a:pt x="5148000" y="6011863"/>
                </a:lnTo>
                <a:lnTo>
                  <a:pt x="0" y="6011863"/>
                </a:lnTo>
                <a:lnTo>
                  <a:pt x="1609725" y="0"/>
                </a:lnTo>
                <a:close/>
              </a:path>
            </a:pathLst>
          </a:custGeom>
          <a:solidFill>
            <a:schemeClr val="accent1">
              <a:lumMod val="25000"/>
              <a:lumOff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264"/>
          <a:ext cx="1587" cy="12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9" imgH="398" progId="TCLayout.ActiveDocument.1">
                  <p:embed/>
                </p:oleObj>
              </mc:Choice>
              <mc:Fallback>
                <p:oleObj name="think-cell Slide" r:id="rId3" imgW="399" imgH="398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264"/>
                        <a:ext cx="1587" cy="12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 userDrawn="1">
            <p:ph type="title" hasCustomPrompt="1"/>
          </p:nvPr>
        </p:nvSpPr>
        <p:spPr>
          <a:xfrm>
            <a:off x="449263" y="1314450"/>
            <a:ext cx="5256000" cy="4031550"/>
          </a:xfrm>
        </p:spPr>
        <p:txBody>
          <a:bodyPr anchor="t" anchorCtr="0">
            <a:noAutofit/>
          </a:bodyPr>
          <a:lstStyle>
            <a:lvl1pPr>
              <a:lnSpc>
                <a:spcPts val="6000"/>
              </a:lnSpc>
              <a:defRPr sz="6000" b="0" cap="none" baseline="0">
                <a:solidFill>
                  <a:schemeClr val="accent1"/>
                </a:solidFill>
                <a:latin typeface="SKODA Next Light" panose="020B0304020603020204" pitchFamily="34" charset="0"/>
              </a:defRPr>
            </a:lvl1pPr>
          </a:lstStyle>
          <a:p>
            <a:r>
              <a:rPr lang="cs-CZ" noProof="0"/>
              <a:t>Děkuji</a:t>
            </a:r>
            <a:endParaRPr lang="cs-CZ" noProof="0" dirty="0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BD0962D-1E63-FEDE-6F59-D9BA7276969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434788" y="1314450"/>
            <a:ext cx="1152000" cy="1548000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cs-CZ"/>
              <a:t>Obrázek</a:t>
            </a:r>
            <a:endParaRPr lang="cs-CZ" dirty="0"/>
          </a:p>
        </p:txBody>
      </p:sp>
      <p:sp>
        <p:nvSpPr>
          <p:cNvPr id="18" name="Picture Placeholder 16">
            <a:extLst>
              <a:ext uri="{FF2B5EF4-FFF2-40B4-BE49-F238E27FC236}">
                <a16:creationId xmlns:a16="http://schemas.microsoft.com/office/drawing/2014/main" id="{A153B96D-10A9-DB89-FDE8-61ADD55197E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090550" y="1314450"/>
            <a:ext cx="1152000" cy="1548000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cs-CZ"/>
              <a:t>Obrázek</a:t>
            </a:r>
            <a:endParaRPr lang="cs-CZ" dirty="0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EE0344C5-D699-2FB3-554F-5651999873C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434787" y="2970000"/>
            <a:ext cx="1152001" cy="14400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9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cs-CZ" noProof="1"/>
              <a:t>Jméno Příjmení</a:t>
            </a:r>
          </a:p>
        </p:txBody>
      </p:sp>
      <p:sp>
        <p:nvSpPr>
          <p:cNvPr id="21" name="Text Placeholder 19">
            <a:extLst>
              <a:ext uri="{FF2B5EF4-FFF2-40B4-BE49-F238E27FC236}">
                <a16:creationId xmlns:a16="http://schemas.microsoft.com/office/drawing/2014/main" id="{2EF5C1AF-6DA5-ED65-5351-59EBC96FD06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434786" y="3112875"/>
            <a:ext cx="1152001" cy="14400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cs-CZ" noProof="1"/>
              <a:t>Pozice</a:t>
            </a:r>
          </a:p>
        </p:txBody>
      </p:sp>
      <p:sp>
        <p:nvSpPr>
          <p:cNvPr id="22" name="Text Placeholder 19">
            <a:extLst>
              <a:ext uri="{FF2B5EF4-FFF2-40B4-BE49-F238E27FC236}">
                <a16:creationId xmlns:a16="http://schemas.microsoft.com/office/drawing/2014/main" id="{92F09B2E-02DD-B1B0-D4FE-7743F865D39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088456" y="2970000"/>
            <a:ext cx="1152001" cy="14400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9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cs-CZ" noProof="1"/>
              <a:t>Jméno Příjmení</a:t>
            </a:r>
          </a:p>
        </p:txBody>
      </p:sp>
      <p:sp>
        <p:nvSpPr>
          <p:cNvPr id="23" name="Text Placeholder 19">
            <a:extLst>
              <a:ext uri="{FF2B5EF4-FFF2-40B4-BE49-F238E27FC236}">
                <a16:creationId xmlns:a16="http://schemas.microsoft.com/office/drawing/2014/main" id="{49B1DC85-4192-09B6-D800-266CEE24849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88455" y="3112875"/>
            <a:ext cx="1152001" cy="14400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cs-CZ" noProof="1"/>
              <a:t>Pozice</a:t>
            </a:r>
          </a:p>
        </p:txBody>
      </p:sp>
      <p:sp>
        <p:nvSpPr>
          <p:cNvPr id="24" name="Text Placeholder 19">
            <a:extLst>
              <a:ext uri="{FF2B5EF4-FFF2-40B4-BE49-F238E27FC236}">
                <a16:creationId xmlns:a16="http://schemas.microsoft.com/office/drawing/2014/main" id="{ABE8CAFB-0160-0A8F-FB22-C93DDF69CC6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56000" y="4464000"/>
            <a:ext cx="4086000" cy="882000"/>
          </a:xfr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cs-CZ" noProof="1"/>
              <a:t>tř. Václava Klementa 869 Mladá Boleslav II</a:t>
            </a:r>
            <a:br>
              <a:rPr lang="cs-CZ" noProof="1"/>
            </a:br>
            <a:r>
              <a:rPr lang="cs-CZ" noProof="1"/>
              <a:t>293 01 Czech Republic</a:t>
            </a:r>
          </a:p>
        </p:txBody>
      </p:sp>
      <p:sp>
        <p:nvSpPr>
          <p:cNvPr id="25" name="Text Placeholder 19">
            <a:extLst>
              <a:ext uri="{FF2B5EF4-FFF2-40B4-BE49-F238E27FC236}">
                <a16:creationId xmlns:a16="http://schemas.microsoft.com/office/drawing/2014/main" id="{A98C13C5-D07A-AACD-353F-E0DD8400F3D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56550" y="4266000"/>
            <a:ext cx="4086000" cy="198000"/>
          </a:xfr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buNone/>
              <a:defRPr sz="1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cs-CZ" noProof="1"/>
              <a:t>Škoda Auto a.s.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36566C6-F354-0ABD-6A11-3BE97825439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846000" y="5598000"/>
            <a:ext cx="4698000" cy="180000"/>
          </a:xfrm>
        </p:spPr>
        <p:txBody>
          <a:bodyPr>
            <a:norm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S15 | 08.06.2023 | Future city tech | VTO | Miroslav Holan</a:t>
            </a:r>
            <a:endParaRPr lang="cs-CZ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D216088-5F02-69F6-F3F3-D16FE1E30EFB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821B86D4-9A62-05B9-67E5-682C15BF048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239693" y="5659592"/>
            <a:ext cx="1002857" cy="10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529965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2BC73856-9920-FB4D-1FA1-5AD01A9B1773}"/>
              </a:ext>
            </a:extLst>
          </p:cNvPr>
          <p:cNvSpPr/>
          <p:nvPr userDrawn="1"/>
        </p:nvSpPr>
        <p:spPr>
          <a:xfrm>
            <a:off x="3852000" y="0"/>
            <a:ext cx="6840000" cy="6011863"/>
          </a:xfrm>
          <a:custGeom>
            <a:avLst/>
            <a:gdLst>
              <a:gd name="connsiteX0" fmla="*/ 0 w 6840000"/>
              <a:gd name="connsiteY0" fmla="*/ 0 h 6011863"/>
              <a:gd name="connsiteX1" fmla="*/ 6840000 w 6840000"/>
              <a:gd name="connsiteY1" fmla="*/ 0 h 6011863"/>
              <a:gd name="connsiteX2" fmla="*/ 6840000 w 6840000"/>
              <a:gd name="connsiteY2" fmla="*/ 6011863 h 6011863"/>
              <a:gd name="connsiteX3" fmla="*/ 0 w 6840000"/>
              <a:gd name="connsiteY3" fmla="*/ 6011863 h 6011863"/>
              <a:gd name="connsiteX4" fmla="*/ 0 w 6840000"/>
              <a:gd name="connsiteY4" fmla="*/ 0 h 6011863"/>
              <a:gd name="connsiteX0" fmla="*/ 1602582 w 6840000"/>
              <a:gd name="connsiteY0" fmla="*/ 0 h 6011863"/>
              <a:gd name="connsiteX1" fmla="*/ 6840000 w 6840000"/>
              <a:gd name="connsiteY1" fmla="*/ 0 h 6011863"/>
              <a:gd name="connsiteX2" fmla="*/ 6840000 w 6840000"/>
              <a:gd name="connsiteY2" fmla="*/ 6011863 h 6011863"/>
              <a:gd name="connsiteX3" fmla="*/ 0 w 6840000"/>
              <a:gd name="connsiteY3" fmla="*/ 6011863 h 6011863"/>
              <a:gd name="connsiteX4" fmla="*/ 1602582 w 6840000"/>
              <a:gd name="connsiteY4" fmla="*/ 0 h 6011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40000" h="6011863">
                <a:moveTo>
                  <a:pt x="1602582" y="0"/>
                </a:moveTo>
                <a:lnTo>
                  <a:pt x="6840000" y="0"/>
                </a:lnTo>
                <a:lnTo>
                  <a:pt x="6840000" y="6011863"/>
                </a:lnTo>
                <a:lnTo>
                  <a:pt x="0" y="6011863"/>
                </a:lnTo>
                <a:lnTo>
                  <a:pt x="1602582" y="0"/>
                </a:lnTo>
                <a:close/>
              </a:path>
            </a:pathLst>
          </a:custGeom>
          <a:solidFill>
            <a:schemeClr val="accent1">
              <a:lumMod val="25000"/>
              <a:lumOff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en-US" noProof="0"/>
              <a:t>S15 | 08.06.2023 | Future city tech | VTO | Miroslav Holan</a:t>
            </a:r>
            <a:endParaRPr lang="cs-CZ" noProof="0" dirty="0"/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4" y="648000"/>
            <a:ext cx="4680000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/>
              <a:t>Podnadpis</a:t>
            </a:r>
            <a:endParaRPr lang="cs-CZ" noProof="0" dirty="0"/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>
          <a:xfrm>
            <a:off x="449264" y="269875"/>
            <a:ext cx="4680000" cy="360000"/>
          </a:xfrm>
        </p:spPr>
        <p:txBody>
          <a:bodyPr/>
          <a:lstStyle>
            <a:lvl1pPr>
              <a:defRPr/>
            </a:lvl1pPr>
          </a:lstStyle>
          <a:p>
            <a:r>
              <a:rPr lang="cs-CZ" noProof="0"/>
              <a:t>Nadpis (shrnutí stránky)</a:t>
            </a:r>
            <a:endParaRPr lang="cs-CZ" noProof="0" dirty="0"/>
          </a:p>
        </p:txBody>
      </p:sp>
      <p:sp>
        <p:nvSpPr>
          <p:cNvPr id="10" name="Zástupný symbol pro obsah 2"/>
          <p:cNvSpPr>
            <a:spLocks noGrp="1"/>
          </p:cNvSpPr>
          <p:nvPr>
            <p:ph idx="13" hasCustomPrompt="1"/>
          </p:nvPr>
        </p:nvSpPr>
        <p:spPr>
          <a:xfrm>
            <a:off x="5418138" y="269875"/>
            <a:ext cx="4824412" cy="3528125"/>
          </a:xfrm>
        </p:spPr>
        <p:txBody>
          <a:bodyPr anchor="b" anchorCtr="0">
            <a:noAutofit/>
          </a:bodyPr>
          <a:lstStyle>
            <a:lvl1pPr marL="0" indent="0" algn="ctr">
              <a:lnSpc>
                <a:spcPts val="14400"/>
              </a:lnSpc>
              <a:buNone/>
              <a:defRPr sz="14400" baseline="0">
                <a:solidFill>
                  <a:schemeClr val="tx1"/>
                </a:solidFill>
                <a:latin typeface="SKODA Next Light" panose="020B0304020603020204" pitchFamily="34" charset="0"/>
              </a:defRPr>
            </a:lvl1pPr>
            <a:lvl2pPr marL="180000" indent="0">
              <a:buNone/>
              <a:defRPr>
                <a:latin typeface="SKODA Next" panose="020B0504020603020204" pitchFamily="34" charset="0"/>
              </a:defRPr>
            </a:lvl2pPr>
            <a:lvl3pPr marL="360000" indent="0">
              <a:buNone/>
              <a:defRPr>
                <a:latin typeface="SKODA Next" panose="020B0504020603020204" pitchFamily="34" charset="0"/>
              </a:defRPr>
            </a:lvl3pPr>
            <a:lvl4pPr marL="540000" indent="0">
              <a:buNone/>
              <a:defRPr>
                <a:latin typeface="SKODA Next" panose="020B0504020603020204" pitchFamily="34" charset="0"/>
              </a:defRPr>
            </a:lvl4pPr>
            <a:lvl5pPr marL="720000" indent="0">
              <a:buNone/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1"/>
              <a:t>Číslo</a:t>
            </a:r>
          </a:p>
        </p:txBody>
      </p:sp>
      <p:sp>
        <p:nvSpPr>
          <p:cNvPr id="5" name="Zástupný symbol pro obsah 2">
            <a:extLst>
              <a:ext uri="{FF2B5EF4-FFF2-40B4-BE49-F238E27FC236}">
                <a16:creationId xmlns:a16="http://schemas.microsoft.com/office/drawing/2014/main" id="{3471EC78-B29A-0B43-3BBF-4728093475C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49264" y="1314450"/>
            <a:ext cx="3456000" cy="4032250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13" name="Zástupný symbol pro text 8">
            <a:extLst>
              <a:ext uri="{FF2B5EF4-FFF2-40B4-BE49-F238E27FC236}">
                <a16:creationId xmlns:a16="http://schemas.microsoft.com/office/drawing/2014/main" id="{2B865885-2219-05BC-D8B6-4695396A63F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18139" y="3798001"/>
            <a:ext cx="4824412" cy="2880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  <a:lvl2pPr marL="180000" indent="0">
              <a:buNone/>
              <a:defRPr>
                <a:solidFill>
                  <a:schemeClr val="accent2"/>
                </a:solidFill>
                <a:latin typeface="SKODA Next" panose="020B0504020603020204" pitchFamily="34" charset="0"/>
              </a:defRPr>
            </a:lvl2pPr>
            <a:lvl3pPr marL="360000" indent="0">
              <a:buNone/>
              <a:defRPr>
                <a:solidFill>
                  <a:schemeClr val="accent2"/>
                </a:solidFill>
                <a:latin typeface="SKODA Next" panose="020B0504020603020204" pitchFamily="34" charset="0"/>
              </a:defRPr>
            </a:lvl3pPr>
            <a:lvl4pPr marL="540000" indent="0">
              <a:buNone/>
              <a:defRPr>
                <a:solidFill>
                  <a:schemeClr val="accent2"/>
                </a:solidFill>
                <a:latin typeface="SKODA Next" panose="020B0504020603020204" pitchFamily="34" charset="0"/>
              </a:defRPr>
            </a:lvl4pPr>
            <a:lvl5pPr marL="720000" indent="0">
              <a:buNone/>
              <a:defRPr>
                <a:solidFill>
                  <a:schemeClr val="accent2"/>
                </a:solidFill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/>
              <a:t>Detail čísla</a:t>
            </a:r>
            <a:endParaRPr lang="cs-CZ" noProof="0" dirty="0"/>
          </a:p>
        </p:txBody>
      </p:sp>
      <p:sp>
        <p:nvSpPr>
          <p:cNvPr id="14" name="Zástupný symbol pro obrázek 10">
            <a:extLst>
              <a:ext uri="{FF2B5EF4-FFF2-40B4-BE49-F238E27FC236}">
                <a16:creationId xmlns:a16="http://schemas.microsoft.com/office/drawing/2014/main" id="{86DAE072-2452-AB7D-161C-6E9AB85BBE6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398345" y="4302000"/>
            <a:ext cx="864000" cy="432000"/>
          </a:xfrm>
        </p:spPr>
        <p:txBody>
          <a:bodyPr/>
          <a:lstStyle>
            <a:lvl1pPr algn="ctr">
              <a:buFontTx/>
              <a:buNone/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Obr</a:t>
            </a:r>
            <a:endParaRPr lang="cs-CZ" noProof="0" dirty="0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E8BF956C-8FAD-9E72-CC1E-ABF17F49162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39693" y="5659592"/>
            <a:ext cx="1002857" cy="10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40440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B6C15D4D-B0E1-E0BD-A36D-4EB0521FEB47}"/>
              </a:ext>
            </a:extLst>
          </p:cNvPr>
          <p:cNvSpPr/>
          <p:nvPr userDrawn="1"/>
        </p:nvSpPr>
        <p:spPr>
          <a:xfrm>
            <a:off x="5418138" y="0"/>
            <a:ext cx="5273675" cy="6011863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noProof="0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en-US" noProof="0"/>
              <a:t>S15 | 08.06.2023 | Future city tech | VTO | Miroslav Holan</a:t>
            </a:r>
            <a:endParaRPr lang="cs-CZ" noProof="0"/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6929438" y="1314450"/>
            <a:ext cx="2250375" cy="3060000"/>
          </a:xfrm>
        </p:spPr>
        <p:txBody>
          <a:bodyPr/>
          <a:lstStyle>
            <a:lvl1pPr algn="ctr">
              <a:buFontTx/>
              <a:buNone/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Obrázek</a:t>
            </a:r>
          </a:p>
        </p:txBody>
      </p:sp>
      <p:sp>
        <p:nvSpPr>
          <p:cNvPr id="15" name="Zástupný symbol pro text 28"/>
          <p:cNvSpPr>
            <a:spLocks noGrp="1"/>
          </p:cNvSpPr>
          <p:nvPr>
            <p:ph type="body" sz="quarter" idx="14" hasCustomPrompt="1"/>
          </p:nvPr>
        </p:nvSpPr>
        <p:spPr>
          <a:xfrm>
            <a:off x="449264" y="648000"/>
            <a:ext cx="4824412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/>
              <a:t>Podnadpis</a:t>
            </a:r>
          </a:p>
        </p:txBody>
      </p:sp>
      <p:sp>
        <p:nvSpPr>
          <p:cNvPr id="4" name="Nadpis 3"/>
          <p:cNvSpPr>
            <a:spLocks noGrp="1"/>
          </p:cNvSpPr>
          <p:nvPr>
            <p:ph type="title" hasCustomPrompt="1"/>
          </p:nvPr>
        </p:nvSpPr>
        <p:spPr>
          <a:xfrm>
            <a:off x="449264" y="269875"/>
            <a:ext cx="4824412" cy="360000"/>
          </a:xfrm>
        </p:spPr>
        <p:txBody>
          <a:bodyPr/>
          <a:lstStyle>
            <a:lvl1pPr>
              <a:defRPr/>
            </a:lvl1pPr>
          </a:lstStyle>
          <a:p>
            <a:r>
              <a:rPr lang="cs-CZ" noProof="0"/>
              <a:t>Nadpis (shrnutí stránky)</a:t>
            </a:r>
          </a:p>
        </p:txBody>
      </p:sp>
      <p:sp>
        <p:nvSpPr>
          <p:cNvPr id="16" name="Zástupný symbol pro obsah 2">
            <a:extLst>
              <a:ext uri="{FF2B5EF4-FFF2-40B4-BE49-F238E27FC236}">
                <a16:creationId xmlns:a16="http://schemas.microsoft.com/office/drawing/2014/main" id="{340CA0B5-574E-883F-7589-CDD3F13CBEE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49264" y="1314450"/>
            <a:ext cx="4824412" cy="4032250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/>
              <a:t>První úroveň</a:t>
            </a:r>
          </a:p>
          <a:p>
            <a:pPr lvl="1"/>
            <a:r>
              <a:rPr lang="cs-CZ" noProof="0"/>
              <a:t>Druhá úroveň</a:t>
            </a:r>
          </a:p>
          <a:p>
            <a:pPr lvl="2"/>
            <a:r>
              <a:rPr lang="cs-CZ" noProof="0"/>
              <a:t>Třetí úroveň</a:t>
            </a:r>
          </a:p>
          <a:p>
            <a:pPr lvl="3"/>
            <a:r>
              <a:rPr lang="cs-CZ" noProof="0"/>
              <a:t>Čtvrtá úroveň</a:t>
            </a:r>
          </a:p>
          <a:p>
            <a:pPr lvl="4"/>
            <a:r>
              <a:rPr lang="cs-CZ" noProof="0"/>
              <a:t>Pátá úroveň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FACACA75-AD0A-EDF6-E389-5EACE03771B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39693" y="5659592"/>
            <a:ext cx="1002857" cy="10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34103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sets Mobi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2BC73856-9920-FB4D-1FA1-5AD01A9B1773}"/>
              </a:ext>
            </a:extLst>
          </p:cNvPr>
          <p:cNvSpPr/>
          <p:nvPr userDrawn="1"/>
        </p:nvSpPr>
        <p:spPr>
          <a:xfrm>
            <a:off x="4111557" y="0"/>
            <a:ext cx="6580443" cy="6011863"/>
          </a:xfrm>
          <a:custGeom>
            <a:avLst/>
            <a:gdLst>
              <a:gd name="connsiteX0" fmla="*/ 0 w 6840000"/>
              <a:gd name="connsiteY0" fmla="*/ 0 h 6011863"/>
              <a:gd name="connsiteX1" fmla="*/ 6840000 w 6840000"/>
              <a:gd name="connsiteY1" fmla="*/ 0 h 6011863"/>
              <a:gd name="connsiteX2" fmla="*/ 6840000 w 6840000"/>
              <a:gd name="connsiteY2" fmla="*/ 6011863 h 6011863"/>
              <a:gd name="connsiteX3" fmla="*/ 0 w 6840000"/>
              <a:gd name="connsiteY3" fmla="*/ 6011863 h 6011863"/>
              <a:gd name="connsiteX4" fmla="*/ 0 w 6840000"/>
              <a:gd name="connsiteY4" fmla="*/ 0 h 6011863"/>
              <a:gd name="connsiteX0" fmla="*/ 1602582 w 6840000"/>
              <a:gd name="connsiteY0" fmla="*/ 0 h 6011863"/>
              <a:gd name="connsiteX1" fmla="*/ 6840000 w 6840000"/>
              <a:gd name="connsiteY1" fmla="*/ 0 h 6011863"/>
              <a:gd name="connsiteX2" fmla="*/ 6840000 w 6840000"/>
              <a:gd name="connsiteY2" fmla="*/ 6011863 h 6011863"/>
              <a:gd name="connsiteX3" fmla="*/ 0 w 6840000"/>
              <a:gd name="connsiteY3" fmla="*/ 6011863 h 6011863"/>
              <a:gd name="connsiteX4" fmla="*/ 1602582 w 6840000"/>
              <a:gd name="connsiteY4" fmla="*/ 0 h 6011863"/>
              <a:gd name="connsiteX0" fmla="*/ 1869282 w 6840000"/>
              <a:gd name="connsiteY0" fmla="*/ 0 h 6011863"/>
              <a:gd name="connsiteX1" fmla="*/ 6840000 w 6840000"/>
              <a:gd name="connsiteY1" fmla="*/ 0 h 6011863"/>
              <a:gd name="connsiteX2" fmla="*/ 6840000 w 6840000"/>
              <a:gd name="connsiteY2" fmla="*/ 6011863 h 6011863"/>
              <a:gd name="connsiteX3" fmla="*/ 0 w 6840000"/>
              <a:gd name="connsiteY3" fmla="*/ 6011863 h 6011863"/>
              <a:gd name="connsiteX4" fmla="*/ 1869282 w 6840000"/>
              <a:gd name="connsiteY4" fmla="*/ 0 h 6011863"/>
              <a:gd name="connsiteX0" fmla="*/ 1609725 w 6580443"/>
              <a:gd name="connsiteY0" fmla="*/ 0 h 6011863"/>
              <a:gd name="connsiteX1" fmla="*/ 6580443 w 6580443"/>
              <a:gd name="connsiteY1" fmla="*/ 0 h 6011863"/>
              <a:gd name="connsiteX2" fmla="*/ 6580443 w 6580443"/>
              <a:gd name="connsiteY2" fmla="*/ 6011863 h 6011863"/>
              <a:gd name="connsiteX3" fmla="*/ 0 w 6580443"/>
              <a:gd name="connsiteY3" fmla="*/ 6011863 h 6011863"/>
              <a:gd name="connsiteX4" fmla="*/ 1609725 w 6580443"/>
              <a:gd name="connsiteY4" fmla="*/ 0 h 6011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80443" h="6011863">
                <a:moveTo>
                  <a:pt x="1609725" y="0"/>
                </a:moveTo>
                <a:lnTo>
                  <a:pt x="6580443" y="0"/>
                </a:lnTo>
                <a:lnTo>
                  <a:pt x="6580443" y="6011863"/>
                </a:lnTo>
                <a:lnTo>
                  <a:pt x="0" y="6011863"/>
                </a:lnTo>
                <a:lnTo>
                  <a:pt x="1609725" y="0"/>
                </a:lnTo>
                <a:close/>
              </a:path>
            </a:pathLst>
          </a:cu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noProof="0"/>
          </a:p>
        </p:txBody>
      </p:sp>
      <p:pic>
        <p:nvPicPr>
          <p:cNvPr id="2" name="Picture 1" descr="A black smartphone with a green screen&#10;&#10;Description automatically generated with low confidence">
            <a:extLst>
              <a:ext uri="{FF2B5EF4-FFF2-40B4-BE49-F238E27FC236}">
                <a16:creationId xmlns:a16="http://schemas.microsoft.com/office/drawing/2014/main" id="{FB079381-B007-27B5-FF2B-BD7E2735274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7942" y="873342"/>
            <a:ext cx="2261882" cy="4380510"/>
          </a:xfrm>
          <a:prstGeom prst="rect">
            <a:avLst/>
          </a:prstGeom>
        </p:spPr>
      </p:pic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en-US" noProof="0"/>
              <a:t>S15 | 08.06.2023 | Future city tech | VTO | Miroslav Holan</a:t>
            </a:r>
            <a:endParaRPr lang="cs-CZ" noProof="0"/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4" y="648000"/>
            <a:ext cx="4680000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/>
              <a:t>Podnadpis</a:t>
            </a:r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>
          <a:xfrm>
            <a:off x="449264" y="269875"/>
            <a:ext cx="4680000" cy="360000"/>
          </a:xfrm>
        </p:spPr>
        <p:txBody>
          <a:bodyPr/>
          <a:lstStyle>
            <a:lvl1pPr>
              <a:defRPr/>
            </a:lvl1pPr>
          </a:lstStyle>
          <a:p>
            <a:r>
              <a:rPr lang="cs-CZ" noProof="0"/>
              <a:t>Nadpis (shrnutí stránky)</a:t>
            </a:r>
          </a:p>
        </p:txBody>
      </p:sp>
      <p:sp>
        <p:nvSpPr>
          <p:cNvPr id="5" name="Zástupný symbol pro obsah 2">
            <a:extLst>
              <a:ext uri="{FF2B5EF4-FFF2-40B4-BE49-F238E27FC236}">
                <a16:creationId xmlns:a16="http://schemas.microsoft.com/office/drawing/2014/main" id="{3471EC78-B29A-0B43-3BBF-4728093475C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49264" y="1314450"/>
            <a:ext cx="3456000" cy="4032250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/>
              <a:t>První úroveň</a:t>
            </a:r>
          </a:p>
          <a:p>
            <a:pPr lvl="1"/>
            <a:r>
              <a:rPr lang="cs-CZ" noProof="0"/>
              <a:t>Druhá úroveň</a:t>
            </a:r>
          </a:p>
          <a:p>
            <a:pPr lvl="2"/>
            <a:r>
              <a:rPr lang="cs-CZ" noProof="0"/>
              <a:t>Třetí úroveň</a:t>
            </a:r>
          </a:p>
          <a:p>
            <a:pPr lvl="3"/>
            <a:r>
              <a:rPr lang="cs-CZ" noProof="0"/>
              <a:t>Čtvrtá úroveň</a:t>
            </a:r>
          </a:p>
          <a:p>
            <a:pPr lvl="4"/>
            <a:r>
              <a:rPr lang="cs-CZ" noProof="0"/>
              <a:t>Pátá úroveň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804DA798-6702-22E7-2B26-4A61B09ABC95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993683" y="981810"/>
            <a:ext cx="1854048" cy="4031251"/>
          </a:xfrm>
          <a:custGeom>
            <a:avLst/>
            <a:gdLst>
              <a:gd name="connsiteX0" fmla="*/ 163971 w 1854048"/>
              <a:gd name="connsiteY0" fmla="*/ 0 h 4031251"/>
              <a:gd name="connsiteX1" fmla="*/ 364469 w 1854048"/>
              <a:gd name="connsiteY1" fmla="*/ 0 h 4031251"/>
              <a:gd name="connsiteX2" fmla="*/ 393066 w 1854048"/>
              <a:gd name="connsiteY2" fmla="*/ 4326 h 4031251"/>
              <a:gd name="connsiteX3" fmla="*/ 414386 w 1854048"/>
              <a:gd name="connsiteY3" fmla="*/ 44511 h 4031251"/>
              <a:gd name="connsiteX4" fmla="*/ 445343 w 1854048"/>
              <a:gd name="connsiteY4" fmla="*/ 125472 h 4031251"/>
              <a:gd name="connsiteX5" fmla="*/ 535829 w 1854048"/>
              <a:gd name="connsiteY5" fmla="*/ 151666 h 4031251"/>
              <a:gd name="connsiteX6" fmla="*/ 1324023 w 1854048"/>
              <a:gd name="connsiteY6" fmla="*/ 154048 h 4031251"/>
              <a:gd name="connsiteX7" fmla="*/ 1412130 w 1854048"/>
              <a:gd name="connsiteY7" fmla="*/ 115948 h 4031251"/>
              <a:gd name="connsiteX8" fmla="*/ 1438324 w 1854048"/>
              <a:gd name="connsiteY8" fmla="*/ 56417 h 4031251"/>
              <a:gd name="connsiteX9" fmla="*/ 1495473 w 1854048"/>
              <a:gd name="connsiteY9" fmla="*/ 4028 h 4031251"/>
              <a:gd name="connsiteX10" fmla="*/ 1671684 w 1854048"/>
              <a:gd name="connsiteY10" fmla="*/ 6410 h 4031251"/>
              <a:gd name="connsiteX11" fmla="*/ 1816942 w 1854048"/>
              <a:gd name="connsiteY11" fmla="*/ 82610 h 4031251"/>
              <a:gd name="connsiteX12" fmla="*/ 1852103 w 1854048"/>
              <a:gd name="connsiteY12" fmla="*/ 175925 h 4031251"/>
              <a:gd name="connsiteX13" fmla="*/ 1854048 w 1854048"/>
              <a:gd name="connsiteY13" fmla="*/ 210300 h 4031251"/>
              <a:gd name="connsiteX14" fmla="*/ 1854048 w 1854048"/>
              <a:gd name="connsiteY14" fmla="*/ 3846889 h 4031251"/>
              <a:gd name="connsiteX15" fmla="*/ 1845815 w 1854048"/>
              <a:gd name="connsiteY15" fmla="*/ 3894099 h 4031251"/>
              <a:gd name="connsiteX16" fmla="*/ 1807418 w 1854048"/>
              <a:gd name="connsiteY16" fmla="*/ 3964048 h 4031251"/>
              <a:gd name="connsiteX17" fmla="*/ 1595486 w 1854048"/>
              <a:gd name="connsiteY17" fmla="*/ 4030722 h 4031251"/>
              <a:gd name="connsiteX18" fmla="*/ 245316 w 1854048"/>
              <a:gd name="connsiteY18" fmla="*/ 4030723 h 4031251"/>
              <a:gd name="connsiteX19" fmla="*/ 50055 w 1854048"/>
              <a:gd name="connsiteY19" fmla="*/ 3966430 h 4031251"/>
              <a:gd name="connsiteX20" fmla="*/ 48 w 1854048"/>
              <a:gd name="connsiteY20" fmla="*/ 3785454 h 4031251"/>
              <a:gd name="connsiteX21" fmla="*/ 48 w 1854048"/>
              <a:gd name="connsiteY21" fmla="*/ 251679 h 4031251"/>
              <a:gd name="connsiteX22" fmla="*/ 47675 w 1854048"/>
              <a:gd name="connsiteY22" fmla="*/ 61178 h 4031251"/>
              <a:gd name="connsiteX23" fmla="*/ 127930 w 1854048"/>
              <a:gd name="connsiteY23" fmla="*/ 9555 h 40312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854048" h="4031251">
                <a:moveTo>
                  <a:pt x="163971" y="0"/>
                </a:moveTo>
                <a:lnTo>
                  <a:pt x="364469" y="0"/>
                </a:lnTo>
                <a:lnTo>
                  <a:pt x="393066" y="4326"/>
                </a:lnTo>
                <a:cubicBezTo>
                  <a:pt x="415576" y="11024"/>
                  <a:pt x="409624" y="23080"/>
                  <a:pt x="414386" y="44511"/>
                </a:cubicBezTo>
                <a:cubicBezTo>
                  <a:pt x="418754" y="87374"/>
                  <a:pt x="425102" y="98088"/>
                  <a:pt x="445343" y="125472"/>
                </a:cubicBezTo>
                <a:cubicBezTo>
                  <a:pt x="465584" y="152856"/>
                  <a:pt x="485823" y="152063"/>
                  <a:pt x="535829" y="151666"/>
                </a:cubicBezTo>
                <a:lnTo>
                  <a:pt x="1324023" y="154048"/>
                </a:lnTo>
                <a:cubicBezTo>
                  <a:pt x="1376411" y="150873"/>
                  <a:pt x="1390699" y="132220"/>
                  <a:pt x="1412130" y="115948"/>
                </a:cubicBezTo>
                <a:cubicBezTo>
                  <a:pt x="1433561" y="99676"/>
                  <a:pt x="1436340" y="77451"/>
                  <a:pt x="1438324" y="56417"/>
                </a:cubicBezTo>
                <a:cubicBezTo>
                  <a:pt x="1440308" y="35383"/>
                  <a:pt x="1429592" y="1647"/>
                  <a:pt x="1495473" y="4028"/>
                </a:cubicBezTo>
                <a:cubicBezTo>
                  <a:pt x="1556592" y="4028"/>
                  <a:pt x="1603818" y="5219"/>
                  <a:pt x="1671684" y="6410"/>
                </a:cubicBezTo>
                <a:cubicBezTo>
                  <a:pt x="1739550" y="7601"/>
                  <a:pt x="1789955" y="46495"/>
                  <a:pt x="1816942" y="82610"/>
                </a:cubicBezTo>
                <a:cubicBezTo>
                  <a:pt x="1833015" y="107018"/>
                  <a:pt x="1846410" y="131426"/>
                  <a:pt x="1852103" y="175925"/>
                </a:cubicBezTo>
                <a:lnTo>
                  <a:pt x="1854048" y="210300"/>
                </a:lnTo>
                <a:lnTo>
                  <a:pt x="1854048" y="3846889"/>
                </a:lnTo>
                <a:lnTo>
                  <a:pt x="1845815" y="3894099"/>
                </a:lnTo>
                <a:cubicBezTo>
                  <a:pt x="1836787" y="3926147"/>
                  <a:pt x="1823293" y="3947379"/>
                  <a:pt x="1807418" y="3964048"/>
                </a:cubicBezTo>
                <a:cubicBezTo>
                  <a:pt x="1775668" y="3997386"/>
                  <a:pt x="1715342" y="4031517"/>
                  <a:pt x="1595486" y="4030722"/>
                </a:cubicBezTo>
                <a:cubicBezTo>
                  <a:pt x="1145429" y="4030722"/>
                  <a:pt x="355250" y="4031912"/>
                  <a:pt x="245316" y="4030723"/>
                </a:cubicBezTo>
                <a:cubicBezTo>
                  <a:pt x="135382" y="4029534"/>
                  <a:pt x="90933" y="4007308"/>
                  <a:pt x="50055" y="3966430"/>
                </a:cubicBezTo>
                <a:cubicBezTo>
                  <a:pt x="9177" y="3925552"/>
                  <a:pt x="1635" y="3884276"/>
                  <a:pt x="48" y="3785454"/>
                </a:cubicBezTo>
                <a:lnTo>
                  <a:pt x="48" y="251679"/>
                </a:lnTo>
                <a:cubicBezTo>
                  <a:pt x="-1143" y="128646"/>
                  <a:pt x="19894" y="96103"/>
                  <a:pt x="47675" y="61178"/>
                </a:cubicBezTo>
                <a:cubicBezTo>
                  <a:pt x="68511" y="34984"/>
                  <a:pt x="92918" y="20623"/>
                  <a:pt x="127930" y="9555"/>
                </a:cubicBezTo>
                <a:close/>
              </a:path>
            </a:pathLst>
          </a:custGeom>
          <a:ln w="3175">
            <a:noFill/>
          </a:ln>
        </p:spPr>
        <p:txBody>
          <a:bodyPr wrap="square" tIns="180000" rIns="0">
            <a:noAutofit/>
          </a:bodyPr>
          <a:lstStyle>
            <a:lvl1pPr algn="ctr">
              <a:spcBef>
                <a:spcPts val="0"/>
              </a:spcBef>
              <a:buFontTx/>
              <a:buNone/>
              <a:defRPr>
                <a:solidFill>
                  <a:schemeClr val="accent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Obr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4F6920E5-80D4-2D89-25DA-504036D6B91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239693" y="5659592"/>
            <a:ext cx="1002857" cy="10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46839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sets NT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2BC73856-9920-FB4D-1FA1-5AD01A9B1773}"/>
              </a:ext>
            </a:extLst>
          </p:cNvPr>
          <p:cNvSpPr/>
          <p:nvPr userDrawn="1"/>
        </p:nvSpPr>
        <p:spPr>
          <a:xfrm>
            <a:off x="3852000" y="0"/>
            <a:ext cx="6840000" cy="6011863"/>
          </a:xfrm>
          <a:custGeom>
            <a:avLst/>
            <a:gdLst>
              <a:gd name="connsiteX0" fmla="*/ 0 w 6840000"/>
              <a:gd name="connsiteY0" fmla="*/ 0 h 6011863"/>
              <a:gd name="connsiteX1" fmla="*/ 6840000 w 6840000"/>
              <a:gd name="connsiteY1" fmla="*/ 0 h 6011863"/>
              <a:gd name="connsiteX2" fmla="*/ 6840000 w 6840000"/>
              <a:gd name="connsiteY2" fmla="*/ 6011863 h 6011863"/>
              <a:gd name="connsiteX3" fmla="*/ 0 w 6840000"/>
              <a:gd name="connsiteY3" fmla="*/ 6011863 h 6011863"/>
              <a:gd name="connsiteX4" fmla="*/ 0 w 6840000"/>
              <a:gd name="connsiteY4" fmla="*/ 0 h 6011863"/>
              <a:gd name="connsiteX0" fmla="*/ 1602582 w 6840000"/>
              <a:gd name="connsiteY0" fmla="*/ 0 h 6011863"/>
              <a:gd name="connsiteX1" fmla="*/ 6840000 w 6840000"/>
              <a:gd name="connsiteY1" fmla="*/ 0 h 6011863"/>
              <a:gd name="connsiteX2" fmla="*/ 6840000 w 6840000"/>
              <a:gd name="connsiteY2" fmla="*/ 6011863 h 6011863"/>
              <a:gd name="connsiteX3" fmla="*/ 0 w 6840000"/>
              <a:gd name="connsiteY3" fmla="*/ 6011863 h 6011863"/>
              <a:gd name="connsiteX4" fmla="*/ 1602582 w 6840000"/>
              <a:gd name="connsiteY4" fmla="*/ 0 h 6011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40000" h="6011863">
                <a:moveTo>
                  <a:pt x="1602582" y="0"/>
                </a:moveTo>
                <a:lnTo>
                  <a:pt x="6840000" y="0"/>
                </a:lnTo>
                <a:lnTo>
                  <a:pt x="6840000" y="6011863"/>
                </a:lnTo>
                <a:lnTo>
                  <a:pt x="0" y="6011863"/>
                </a:lnTo>
                <a:lnTo>
                  <a:pt x="1602582" y="0"/>
                </a:lnTo>
                <a:close/>
              </a:path>
            </a:pathLst>
          </a:cu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noProof="0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en-US" noProof="0"/>
              <a:t>S15 | 08.06.2023 | Future city tech | VTO | Miroslav Holan</a:t>
            </a:r>
            <a:endParaRPr lang="cs-CZ" noProof="0"/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4" y="648000"/>
            <a:ext cx="4680000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/>
              <a:t>Podnadpis</a:t>
            </a:r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>
          <a:xfrm>
            <a:off x="449264" y="269875"/>
            <a:ext cx="4680000" cy="360000"/>
          </a:xfrm>
        </p:spPr>
        <p:txBody>
          <a:bodyPr/>
          <a:lstStyle>
            <a:lvl1pPr>
              <a:defRPr/>
            </a:lvl1pPr>
          </a:lstStyle>
          <a:p>
            <a:r>
              <a:rPr lang="cs-CZ" noProof="0"/>
              <a:t>Nadpis (shrnutí stránky)</a:t>
            </a:r>
          </a:p>
        </p:txBody>
      </p:sp>
      <p:sp>
        <p:nvSpPr>
          <p:cNvPr id="5" name="Zástupný symbol pro obsah 2">
            <a:extLst>
              <a:ext uri="{FF2B5EF4-FFF2-40B4-BE49-F238E27FC236}">
                <a16:creationId xmlns:a16="http://schemas.microsoft.com/office/drawing/2014/main" id="{3471EC78-B29A-0B43-3BBF-4728093475C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49264" y="1314450"/>
            <a:ext cx="3456000" cy="4032250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/>
              <a:t>První úroveň</a:t>
            </a:r>
          </a:p>
          <a:p>
            <a:pPr lvl="1"/>
            <a:r>
              <a:rPr lang="cs-CZ" noProof="0"/>
              <a:t>Druhá úroveň</a:t>
            </a:r>
          </a:p>
          <a:p>
            <a:pPr lvl="2"/>
            <a:r>
              <a:rPr lang="cs-CZ" noProof="0"/>
              <a:t>Třetí úroveň</a:t>
            </a:r>
          </a:p>
          <a:p>
            <a:pPr lvl="3"/>
            <a:r>
              <a:rPr lang="cs-CZ" noProof="0"/>
              <a:t>Čtvrtá úroveň</a:t>
            </a:r>
          </a:p>
          <a:p>
            <a:pPr lvl="4"/>
            <a:r>
              <a:rPr lang="cs-CZ" noProof="0"/>
              <a:t>Pátá úroveň</a:t>
            </a:r>
          </a:p>
        </p:txBody>
      </p:sp>
      <p:pic>
        <p:nvPicPr>
          <p:cNvPr id="16" name="Picture 15" descr="Picture placeholder on NTB">
            <a:extLst>
              <a:ext uri="{FF2B5EF4-FFF2-40B4-BE49-F238E27FC236}">
                <a16:creationId xmlns:a16="http://schemas.microsoft.com/office/drawing/2014/main" id="{2B27DD95-842A-A815-22D8-793B2D351C7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855" t="11185" r="2782" b="13217"/>
          <a:stretch/>
        </p:blipFill>
        <p:spPr>
          <a:xfrm>
            <a:off x="4781550" y="1277863"/>
            <a:ext cx="5681663" cy="3365576"/>
          </a:xfrm>
          <a:prstGeom prst="rect">
            <a:avLst/>
          </a:prstGeom>
        </p:spPr>
      </p:pic>
      <p:sp>
        <p:nvSpPr>
          <p:cNvPr id="2" name="Zástupný symbol pro obrázek 10">
            <a:extLst>
              <a:ext uri="{FF2B5EF4-FFF2-40B4-BE49-F238E27FC236}">
                <a16:creationId xmlns:a16="http://schemas.microsoft.com/office/drawing/2014/main" id="{87DEAAE3-7548-B252-8D11-D78AD94E54D2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5504180" y="1527175"/>
            <a:ext cx="4248000" cy="2664000"/>
          </a:xfrm>
        </p:spPr>
        <p:txBody>
          <a:bodyPr/>
          <a:lstStyle>
            <a:lvl1pPr algn="ctr">
              <a:buFontTx/>
              <a:buNone/>
              <a:defRPr>
                <a:solidFill>
                  <a:schemeClr val="accent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Obr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6ECBEF5D-7ACB-67AC-72FD-844FFECDC1C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239693" y="5659592"/>
            <a:ext cx="1002857" cy="10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41633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xt Chapt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90BAC904-4638-901D-4A48-3CD3F5ADF590}"/>
              </a:ext>
            </a:extLst>
          </p:cNvPr>
          <p:cNvSpPr/>
          <p:nvPr userDrawn="1"/>
        </p:nvSpPr>
        <p:spPr>
          <a:xfrm>
            <a:off x="9197999" y="5623200"/>
            <a:ext cx="1080000" cy="180000"/>
          </a:xfrm>
          <a:prstGeom prst="rect">
            <a:avLst/>
          </a:pr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700" dirty="0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92AA19F-6376-FAB3-2A4C-666DF6E7BED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41200" y="5659200"/>
            <a:ext cx="1002857" cy="108000"/>
          </a:xfrm>
          <a:prstGeom prst="rect">
            <a:avLst/>
          </a:prstGeom>
        </p:spPr>
      </p:pic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264"/>
          <a:ext cx="1587" cy="12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9" imgH="398" progId="TCLayout.ActiveDocument.1">
                  <p:embed/>
                </p:oleObj>
              </mc:Choice>
              <mc:Fallback>
                <p:oleObj name="think-cell Slide" r:id="rId5" imgW="399" imgH="398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264"/>
                        <a:ext cx="1587" cy="12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 userDrawn="1">
            <p:ph type="title" hasCustomPrompt="1"/>
          </p:nvPr>
        </p:nvSpPr>
        <p:spPr>
          <a:xfrm>
            <a:off x="449263" y="1314450"/>
            <a:ext cx="9791194" cy="1620000"/>
          </a:xfrm>
        </p:spPr>
        <p:txBody>
          <a:bodyPr anchor="t" anchorCtr="0">
            <a:noAutofit/>
          </a:bodyPr>
          <a:lstStyle>
            <a:lvl1pPr marL="0" indent="0">
              <a:lnSpc>
                <a:spcPts val="6000"/>
              </a:lnSpc>
              <a:buFont typeface="+mj-lt"/>
              <a:buNone/>
              <a:defRPr sz="6000" b="0" cap="none" baseline="0">
                <a:solidFill>
                  <a:schemeClr val="accent2"/>
                </a:solidFill>
                <a:latin typeface="SKODA Next Light" panose="020B0304020603020204" pitchFamily="34" charset="0"/>
              </a:defRPr>
            </a:lvl1pPr>
          </a:lstStyle>
          <a:p>
            <a:r>
              <a:rPr lang="cs-CZ" noProof="0"/>
              <a:t>1. Kapitola</a:t>
            </a:r>
          </a:p>
        </p:txBody>
      </p:sp>
      <p:sp>
        <p:nvSpPr>
          <p:cNvPr id="11" name="Text Placeholder 19">
            <a:extLst>
              <a:ext uri="{FF2B5EF4-FFF2-40B4-BE49-F238E27FC236}">
                <a16:creationId xmlns:a16="http://schemas.microsoft.com/office/drawing/2014/main" id="{6DE4403A-6787-41E0-C252-174FF53546B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49601" y="3005930"/>
            <a:ext cx="8890856" cy="234077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buNone/>
              <a:defRPr sz="2000" b="0">
                <a:solidFill>
                  <a:schemeClr val="accent2"/>
                </a:solidFill>
                <a:latin typeface="SKODA Next Light" panose="020B0304020603020204" pitchFamily="34" charset="0"/>
              </a:defRPr>
            </a:lvl1pPr>
          </a:lstStyle>
          <a:p>
            <a:pPr lvl="0"/>
            <a:r>
              <a:rPr lang="cs-CZ" noProof="0"/>
              <a:t>Detaily kapitoly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5DA00B0-72A3-6348-58CB-D5A08617BE18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noProof="0"/>
              <a:t>S15 | 08.06.2023 | Future city tech | VTO | Miroslav Holan</a:t>
            </a:r>
            <a:endParaRPr lang="cs-CZ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46914EB-8A13-3435-7731-7287A68E5A2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</p:spTree>
    <p:extLst>
      <p:ext uri="{BB962C8B-B14F-4D97-AF65-F5344CB8AC3E}">
        <p14:creationId xmlns:p14="http://schemas.microsoft.com/office/powerpoint/2010/main" val="206609018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sets Screens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Shape, rectangle&#10;&#10;Description automatically generated">
            <a:extLst>
              <a:ext uri="{FF2B5EF4-FFF2-40B4-BE49-F238E27FC236}">
                <a16:creationId xmlns:a16="http://schemas.microsoft.com/office/drawing/2014/main" id="{DF3E1D76-E1FE-85BE-876E-897BF722D4A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050" y="2091613"/>
            <a:ext cx="3744000" cy="2995200"/>
          </a:xfrm>
          <a:prstGeom prst="rect">
            <a:avLst/>
          </a:prstGeom>
          <a:effectLst>
            <a:softEdge rad="31750"/>
          </a:effectLst>
        </p:spPr>
      </p:pic>
      <p:pic>
        <p:nvPicPr>
          <p:cNvPr id="14" name="Picture 13" descr="A black smartphone with a green screen&#10;&#10;Description automatically generated with low confidence">
            <a:extLst>
              <a:ext uri="{FF2B5EF4-FFF2-40B4-BE49-F238E27FC236}">
                <a16:creationId xmlns:a16="http://schemas.microsoft.com/office/drawing/2014/main" id="{BAFCD9A6-230C-5FDE-7021-3001BC6B300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5395" y="1559470"/>
            <a:ext cx="1016799" cy="1969200"/>
          </a:xfrm>
          <a:prstGeom prst="rect">
            <a:avLst/>
          </a:prstGeom>
        </p:spPr>
      </p:pic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6369D4B5-C1C4-FBDE-DE0B-8CEE20ED2F6A}"/>
              </a:ext>
            </a:extLst>
          </p:cNvPr>
          <p:cNvSpPr/>
          <p:nvPr userDrawn="1"/>
        </p:nvSpPr>
        <p:spPr>
          <a:xfrm>
            <a:off x="4057652" y="4531518"/>
            <a:ext cx="417600" cy="504000"/>
          </a:xfrm>
          <a:prstGeom prst="roundRect">
            <a:avLst/>
          </a:prstGeom>
          <a:solidFill>
            <a:schemeClr val="accent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noProof="0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7" name="Zástupný symbol pro zápatí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en-US" noProof="0"/>
              <a:t>S15 | 08.06.2023 | Future city tech | VTO | Miroslav Holan</a:t>
            </a:r>
            <a:endParaRPr lang="cs-CZ" noProof="0"/>
          </a:p>
        </p:txBody>
      </p:sp>
      <p:sp>
        <p:nvSpPr>
          <p:cNvPr id="10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648000"/>
            <a:ext cx="9793288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/>
              <a:t>Podnadpis</a:t>
            </a:r>
          </a:p>
        </p:txBody>
      </p:sp>
      <p:sp>
        <p:nvSpPr>
          <p:cNvPr id="3" name="Nadpis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cs-CZ" noProof="0"/>
              <a:t>Nadpis (shrnutí stránky)</a:t>
            </a:r>
          </a:p>
        </p:txBody>
      </p:sp>
      <p:sp>
        <p:nvSpPr>
          <p:cNvPr id="4" name="Picture Placeholder 18">
            <a:extLst>
              <a:ext uri="{FF2B5EF4-FFF2-40B4-BE49-F238E27FC236}">
                <a16:creationId xmlns:a16="http://schemas.microsoft.com/office/drawing/2014/main" id="{3F5D714F-8A7D-5AF6-0CB7-DFB1A6CB1325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912946" y="1610447"/>
            <a:ext cx="832324" cy="1809720"/>
          </a:xfrm>
          <a:custGeom>
            <a:avLst/>
            <a:gdLst>
              <a:gd name="connsiteX0" fmla="*/ 163971 w 1854048"/>
              <a:gd name="connsiteY0" fmla="*/ 0 h 4031251"/>
              <a:gd name="connsiteX1" fmla="*/ 364469 w 1854048"/>
              <a:gd name="connsiteY1" fmla="*/ 0 h 4031251"/>
              <a:gd name="connsiteX2" fmla="*/ 393066 w 1854048"/>
              <a:gd name="connsiteY2" fmla="*/ 4326 h 4031251"/>
              <a:gd name="connsiteX3" fmla="*/ 414386 w 1854048"/>
              <a:gd name="connsiteY3" fmla="*/ 44511 h 4031251"/>
              <a:gd name="connsiteX4" fmla="*/ 445343 w 1854048"/>
              <a:gd name="connsiteY4" fmla="*/ 125472 h 4031251"/>
              <a:gd name="connsiteX5" fmla="*/ 535829 w 1854048"/>
              <a:gd name="connsiteY5" fmla="*/ 151666 h 4031251"/>
              <a:gd name="connsiteX6" fmla="*/ 1324023 w 1854048"/>
              <a:gd name="connsiteY6" fmla="*/ 154048 h 4031251"/>
              <a:gd name="connsiteX7" fmla="*/ 1412130 w 1854048"/>
              <a:gd name="connsiteY7" fmla="*/ 115948 h 4031251"/>
              <a:gd name="connsiteX8" fmla="*/ 1438324 w 1854048"/>
              <a:gd name="connsiteY8" fmla="*/ 56417 h 4031251"/>
              <a:gd name="connsiteX9" fmla="*/ 1495473 w 1854048"/>
              <a:gd name="connsiteY9" fmla="*/ 4028 h 4031251"/>
              <a:gd name="connsiteX10" fmla="*/ 1671684 w 1854048"/>
              <a:gd name="connsiteY10" fmla="*/ 6410 h 4031251"/>
              <a:gd name="connsiteX11" fmla="*/ 1816942 w 1854048"/>
              <a:gd name="connsiteY11" fmla="*/ 82610 h 4031251"/>
              <a:gd name="connsiteX12" fmla="*/ 1852103 w 1854048"/>
              <a:gd name="connsiteY12" fmla="*/ 175925 h 4031251"/>
              <a:gd name="connsiteX13" fmla="*/ 1854048 w 1854048"/>
              <a:gd name="connsiteY13" fmla="*/ 210300 h 4031251"/>
              <a:gd name="connsiteX14" fmla="*/ 1854048 w 1854048"/>
              <a:gd name="connsiteY14" fmla="*/ 3846889 h 4031251"/>
              <a:gd name="connsiteX15" fmla="*/ 1845815 w 1854048"/>
              <a:gd name="connsiteY15" fmla="*/ 3894099 h 4031251"/>
              <a:gd name="connsiteX16" fmla="*/ 1807418 w 1854048"/>
              <a:gd name="connsiteY16" fmla="*/ 3964048 h 4031251"/>
              <a:gd name="connsiteX17" fmla="*/ 1595486 w 1854048"/>
              <a:gd name="connsiteY17" fmla="*/ 4030722 h 4031251"/>
              <a:gd name="connsiteX18" fmla="*/ 245316 w 1854048"/>
              <a:gd name="connsiteY18" fmla="*/ 4030723 h 4031251"/>
              <a:gd name="connsiteX19" fmla="*/ 50055 w 1854048"/>
              <a:gd name="connsiteY19" fmla="*/ 3966430 h 4031251"/>
              <a:gd name="connsiteX20" fmla="*/ 48 w 1854048"/>
              <a:gd name="connsiteY20" fmla="*/ 3785454 h 4031251"/>
              <a:gd name="connsiteX21" fmla="*/ 48 w 1854048"/>
              <a:gd name="connsiteY21" fmla="*/ 251679 h 4031251"/>
              <a:gd name="connsiteX22" fmla="*/ 47675 w 1854048"/>
              <a:gd name="connsiteY22" fmla="*/ 61178 h 4031251"/>
              <a:gd name="connsiteX23" fmla="*/ 127930 w 1854048"/>
              <a:gd name="connsiteY23" fmla="*/ 9555 h 40312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854048" h="4031251">
                <a:moveTo>
                  <a:pt x="163971" y="0"/>
                </a:moveTo>
                <a:lnTo>
                  <a:pt x="364469" y="0"/>
                </a:lnTo>
                <a:lnTo>
                  <a:pt x="393066" y="4326"/>
                </a:lnTo>
                <a:cubicBezTo>
                  <a:pt x="415576" y="11024"/>
                  <a:pt x="409624" y="23080"/>
                  <a:pt x="414386" y="44511"/>
                </a:cubicBezTo>
                <a:cubicBezTo>
                  <a:pt x="418754" y="87374"/>
                  <a:pt x="425102" y="98088"/>
                  <a:pt x="445343" y="125472"/>
                </a:cubicBezTo>
                <a:cubicBezTo>
                  <a:pt x="465584" y="152856"/>
                  <a:pt x="485823" y="152063"/>
                  <a:pt x="535829" y="151666"/>
                </a:cubicBezTo>
                <a:lnTo>
                  <a:pt x="1324023" y="154048"/>
                </a:lnTo>
                <a:cubicBezTo>
                  <a:pt x="1376411" y="150873"/>
                  <a:pt x="1390699" y="132220"/>
                  <a:pt x="1412130" y="115948"/>
                </a:cubicBezTo>
                <a:cubicBezTo>
                  <a:pt x="1433561" y="99676"/>
                  <a:pt x="1436340" y="77451"/>
                  <a:pt x="1438324" y="56417"/>
                </a:cubicBezTo>
                <a:cubicBezTo>
                  <a:pt x="1440308" y="35383"/>
                  <a:pt x="1429592" y="1647"/>
                  <a:pt x="1495473" y="4028"/>
                </a:cubicBezTo>
                <a:cubicBezTo>
                  <a:pt x="1556592" y="4028"/>
                  <a:pt x="1603818" y="5219"/>
                  <a:pt x="1671684" y="6410"/>
                </a:cubicBezTo>
                <a:cubicBezTo>
                  <a:pt x="1739550" y="7601"/>
                  <a:pt x="1789955" y="46495"/>
                  <a:pt x="1816942" y="82610"/>
                </a:cubicBezTo>
                <a:cubicBezTo>
                  <a:pt x="1833015" y="107018"/>
                  <a:pt x="1846410" y="131426"/>
                  <a:pt x="1852103" y="175925"/>
                </a:cubicBezTo>
                <a:lnTo>
                  <a:pt x="1854048" y="210300"/>
                </a:lnTo>
                <a:lnTo>
                  <a:pt x="1854048" y="3846889"/>
                </a:lnTo>
                <a:lnTo>
                  <a:pt x="1845815" y="3894099"/>
                </a:lnTo>
                <a:cubicBezTo>
                  <a:pt x="1836787" y="3926147"/>
                  <a:pt x="1823293" y="3947379"/>
                  <a:pt x="1807418" y="3964048"/>
                </a:cubicBezTo>
                <a:cubicBezTo>
                  <a:pt x="1775668" y="3997386"/>
                  <a:pt x="1715342" y="4031517"/>
                  <a:pt x="1595486" y="4030722"/>
                </a:cubicBezTo>
                <a:cubicBezTo>
                  <a:pt x="1145429" y="4030722"/>
                  <a:pt x="355250" y="4031912"/>
                  <a:pt x="245316" y="4030723"/>
                </a:cubicBezTo>
                <a:cubicBezTo>
                  <a:pt x="135382" y="4029534"/>
                  <a:pt x="90933" y="4007308"/>
                  <a:pt x="50055" y="3966430"/>
                </a:cubicBezTo>
                <a:cubicBezTo>
                  <a:pt x="9177" y="3925552"/>
                  <a:pt x="1635" y="3884276"/>
                  <a:pt x="48" y="3785454"/>
                </a:cubicBezTo>
                <a:lnTo>
                  <a:pt x="48" y="251679"/>
                </a:lnTo>
                <a:cubicBezTo>
                  <a:pt x="-1143" y="128646"/>
                  <a:pt x="19894" y="96103"/>
                  <a:pt x="47675" y="61178"/>
                </a:cubicBezTo>
                <a:cubicBezTo>
                  <a:pt x="68511" y="34984"/>
                  <a:pt x="92918" y="20623"/>
                  <a:pt x="127930" y="9555"/>
                </a:cubicBezTo>
                <a:close/>
              </a:path>
            </a:pathLst>
          </a:custGeom>
          <a:ln w="3175">
            <a:noFill/>
          </a:ln>
        </p:spPr>
        <p:txBody>
          <a:bodyPr wrap="square" tIns="180000" rIns="0">
            <a:noAutofit/>
          </a:bodyPr>
          <a:lstStyle>
            <a:lvl1pPr algn="ctr">
              <a:spcBef>
                <a:spcPts val="0"/>
              </a:spcBef>
              <a:buFontTx/>
              <a:buNone/>
              <a:defRPr>
                <a:solidFill>
                  <a:schemeClr val="accent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Obr</a:t>
            </a:r>
          </a:p>
        </p:txBody>
      </p:sp>
      <p:pic>
        <p:nvPicPr>
          <p:cNvPr id="5" name="Picture 4" descr="Picture placeholder on NTB">
            <a:extLst>
              <a:ext uri="{FF2B5EF4-FFF2-40B4-BE49-F238E27FC236}">
                <a16:creationId xmlns:a16="http://schemas.microsoft.com/office/drawing/2014/main" id="{83BDD9CF-7056-D14F-6C98-08383FBD25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855" t="11185" r="2782" b="13217"/>
          <a:stretch/>
        </p:blipFill>
        <p:spPr>
          <a:xfrm>
            <a:off x="5288606" y="1778076"/>
            <a:ext cx="5079632" cy="3008958"/>
          </a:xfrm>
          <a:prstGeom prst="rect">
            <a:avLst/>
          </a:prstGeom>
        </p:spPr>
      </p:pic>
      <p:sp>
        <p:nvSpPr>
          <p:cNvPr id="8" name="Zástupný symbol pro obrázek 10">
            <a:extLst>
              <a:ext uri="{FF2B5EF4-FFF2-40B4-BE49-F238E27FC236}">
                <a16:creationId xmlns:a16="http://schemas.microsoft.com/office/drawing/2014/main" id="{D15D8CFF-B991-6428-A03C-ED319344C3EC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928544" y="1998378"/>
            <a:ext cx="3801600" cy="2381722"/>
          </a:xfrm>
        </p:spPr>
        <p:txBody>
          <a:bodyPr/>
          <a:lstStyle>
            <a:lvl1pPr algn="ctr">
              <a:buFontTx/>
              <a:buNone/>
              <a:defRPr>
                <a:solidFill>
                  <a:schemeClr val="accent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Obr</a:t>
            </a:r>
          </a:p>
        </p:txBody>
      </p:sp>
      <p:sp>
        <p:nvSpPr>
          <p:cNvPr id="13" name="Zástupný symbol pro obrázek 10">
            <a:extLst>
              <a:ext uri="{FF2B5EF4-FFF2-40B4-BE49-F238E27FC236}">
                <a16:creationId xmlns:a16="http://schemas.microsoft.com/office/drawing/2014/main" id="{8DB6E6F3-896A-1761-57EA-93B2D9BFC65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04433" y="2467446"/>
            <a:ext cx="2653200" cy="1854000"/>
          </a:xfrm>
          <a:prstGeom prst="roundRect">
            <a:avLst>
              <a:gd name="adj" fmla="val 2124"/>
            </a:avLst>
          </a:prstGeom>
        </p:spPr>
        <p:txBody>
          <a:bodyPr/>
          <a:lstStyle>
            <a:lvl1pPr algn="ctr">
              <a:buFontTx/>
              <a:buNone/>
              <a:defRPr>
                <a:solidFill>
                  <a:schemeClr val="accent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Obr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8D6BEC5B-BD30-950B-5B02-B20EBD2C6B5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06843" y="4321446"/>
            <a:ext cx="540000" cy="920700"/>
          </a:xfrm>
          <a:prstGeom prst="rect">
            <a:avLst/>
          </a:prstGeom>
        </p:spPr>
      </p:pic>
      <p:sp>
        <p:nvSpPr>
          <p:cNvPr id="20" name="Zástupný symbol pro obrázek 10">
            <a:extLst>
              <a:ext uri="{FF2B5EF4-FFF2-40B4-BE49-F238E27FC236}">
                <a16:creationId xmlns:a16="http://schemas.microsoft.com/office/drawing/2014/main" id="{24F28A04-BA62-6179-A6A4-4EE5267D30D4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4062413" y="4536280"/>
            <a:ext cx="406800" cy="489600"/>
          </a:xfrm>
          <a:prstGeom prst="roundRect">
            <a:avLst>
              <a:gd name="adj" fmla="val 17343"/>
            </a:avLst>
          </a:prstGeom>
        </p:spPr>
        <p:txBody>
          <a:bodyPr/>
          <a:lstStyle>
            <a:lvl1pPr algn="ctr">
              <a:buFontTx/>
              <a:buNone/>
              <a:defRPr>
                <a:solidFill>
                  <a:schemeClr val="accent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Obr</a:t>
            </a:r>
          </a:p>
        </p:txBody>
      </p:sp>
    </p:spTree>
    <p:extLst>
      <p:ext uri="{BB962C8B-B14F-4D97-AF65-F5344CB8AC3E}">
        <p14:creationId xmlns:p14="http://schemas.microsoft.com/office/powerpoint/2010/main" val="95034746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 userDrawn="1">
            <p:ph idx="1" hasCustomPrompt="1"/>
          </p:nvPr>
        </p:nvSpPr>
        <p:spPr>
          <a:xfrm>
            <a:off x="449263" y="1314450"/>
            <a:ext cx="9793287" cy="4032250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/>
              <a:t>První úroveň</a:t>
            </a:r>
          </a:p>
          <a:p>
            <a:pPr lvl="1"/>
            <a:r>
              <a:rPr lang="cs-CZ" noProof="0"/>
              <a:t>Druhá úroveň</a:t>
            </a:r>
          </a:p>
          <a:p>
            <a:pPr lvl="2"/>
            <a:r>
              <a:rPr lang="cs-CZ" noProof="0"/>
              <a:t>Třetí úroveň</a:t>
            </a:r>
          </a:p>
          <a:p>
            <a:pPr lvl="3"/>
            <a:r>
              <a:rPr lang="cs-CZ" noProof="0"/>
              <a:t>Čtvrtá úroveň</a:t>
            </a:r>
          </a:p>
          <a:p>
            <a:pPr lvl="4"/>
            <a:r>
              <a:rPr lang="cs-CZ" noProof="0"/>
              <a:t>Pátá úroveň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 userDrawn="1"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8" name="Zástupný symbol pro zápatí 7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en-US" noProof="0"/>
              <a:t>S15 | 08.06.2023 | Future city tech | VTO | Miroslav Holan</a:t>
            </a:r>
            <a:endParaRPr lang="cs-CZ" noProof="0"/>
          </a:p>
        </p:txBody>
      </p:sp>
      <p:sp>
        <p:nvSpPr>
          <p:cNvPr id="29" name="Zástupný symbol pro text 28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449263" y="649287"/>
            <a:ext cx="9793288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/>
              <a:t>Podnadpis</a:t>
            </a:r>
          </a:p>
        </p:txBody>
      </p:sp>
      <p:sp>
        <p:nvSpPr>
          <p:cNvPr id="30" name="Nadpis 29"/>
          <p:cNvSpPr>
            <a:spLocks noGrp="1"/>
          </p:cNvSpPr>
          <p:nvPr userDrawn="1">
            <p:ph type="title" hasCustomPrompt="1"/>
          </p:nvPr>
        </p:nvSpPr>
        <p:spPr>
          <a:xfrm>
            <a:off x="449263" y="269875"/>
            <a:ext cx="9793287" cy="360000"/>
          </a:xfrm>
        </p:spPr>
        <p:txBody>
          <a:bodyPr/>
          <a:lstStyle>
            <a:lvl1pPr>
              <a:defRPr/>
            </a:lvl1pPr>
          </a:lstStyle>
          <a:p>
            <a:r>
              <a:rPr lang="cs-CZ" noProof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18924758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 hasCustomPrompt="1"/>
          </p:nvPr>
        </p:nvSpPr>
        <p:spPr>
          <a:xfrm>
            <a:off x="449263" y="1314450"/>
            <a:ext cx="4824412" cy="4032250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/>
              <a:t>První úroveň</a:t>
            </a:r>
          </a:p>
          <a:p>
            <a:pPr lvl="1"/>
            <a:r>
              <a:rPr lang="cs-CZ" noProof="0"/>
              <a:t>Druhá úroveň</a:t>
            </a:r>
          </a:p>
          <a:p>
            <a:pPr lvl="2"/>
            <a:r>
              <a:rPr lang="cs-CZ" noProof="0"/>
              <a:t>Třetí úroveň</a:t>
            </a:r>
          </a:p>
          <a:p>
            <a:pPr lvl="3"/>
            <a:r>
              <a:rPr lang="cs-CZ" noProof="0"/>
              <a:t>Čtvrtá úroveň</a:t>
            </a:r>
          </a:p>
          <a:p>
            <a:pPr lvl="4"/>
            <a:r>
              <a:rPr lang="cs-CZ" noProof="0"/>
              <a:t>Pátá úroveň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en-US" noProof="0"/>
              <a:t>S15 | 08.06.2023 | Future city tech | VTO | Miroslav Holan</a:t>
            </a:r>
            <a:endParaRPr lang="cs-CZ" noProof="0"/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648000"/>
            <a:ext cx="9793288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/>
              <a:t>Podnadpis</a:t>
            </a:r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/>
              <a:t>Nadpis (shrnutí stránky)</a:t>
            </a:r>
          </a:p>
        </p:txBody>
      </p:sp>
      <p:sp>
        <p:nvSpPr>
          <p:cNvPr id="9" name="Zástupný symbol pro obsah 2"/>
          <p:cNvSpPr>
            <a:spLocks noGrp="1"/>
          </p:cNvSpPr>
          <p:nvPr>
            <p:ph idx="13" hasCustomPrompt="1"/>
          </p:nvPr>
        </p:nvSpPr>
        <p:spPr>
          <a:xfrm>
            <a:off x="5418139" y="1314450"/>
            <a:ext cx="4824411" cy="4032250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/>
              <a:t>První úroveň</a:t>
            </a:r>
          </a:p>
          <a:p>
            <a:pPr lvl="1"/>
            <a:r>
              <a:rPr lang="cs-CZ" noProof="0"/>
              <a:t>Druhá úroveň</a:t>
            </a:r>
          </a:p>
          <a:p>
            <a:pPr lvl="2"/>
            <a:r>
              <a:rPr lang="cs-CZ" noProof="0"/>
              <a:t>Třetí úroveň</a:t>
            </a:r>
          </a:p>
          <a:p>
            <a:pPr lvl="3"/>
            <a:r>
              <a:rPr lang="cs-CZ" noProof="0"/>
              <a:t>Čtvrtá úroveň</a:t>
            </a:r>
          </a:p>
          <a:p>
            <a:pPr lvl="4"/>
            <a:r>
              <a:rPr lang="cs-CZ" noProof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253008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 hasCustomPrompt="1"/>
          </p:nvPr>
        </p:nvSpPr>
        <p:spPr>
          <a:xfrm>
            <a:off x="449261" y="1314450"/>
            <a:ext cx="3168651" cy="4032250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/>
              <a:t>První úroveň</a:t>
            </a:r>
          </a:p>
          <a:p>
            <a:pPr lvl="1"/>
            <a:r>
              <a:rPr lang="cs-CZ" noProof="0"/>
              <a:t>Druhá úroveň</a:t>
            </a:r>
          </a:p>
          <a:p>
            <a:pPr lvl="2"/>
            <a:r>
              <a:rPr lang="cs-CZ" noProof="0"/>
              <a:t>Třetí úroveň</a:t>
            </a:r>
          </a:p>
          <a:p>
            <a:pPr lvl="3"/>
            <a:r>
              <a:rPr lang="cs-CZ" noProof="0"/>
              <a:t>Čtvrtá úroveň</a:t>
            </a:r>
          </a:p>
          <a:p>
            <a:pPr lvl="4"/>
            <a:r>
              <a:rPr lang="cs-CZ" noProof="0"/>
              <a:t>Pátá úroveň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en-US" noProof="0"/>
              <a:t>S15 | 08.06.2023 | Future city tech | VTO | Miroslav Holan</a:t>
            </a:r>
            <a:endParaRPr lang="cs-CZ" noProof="0"/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648000"/>
            <a:ext cx="9793287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/>
              <a:t>Podnadpis</a:t>
            </a:r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/>
              <a:t>Nadpis (shrnutí stránky)</a:t>
            </a:r>
          </a:p>
        </p:txBody>
      </p:sp>
      <p:sp>
        <p:nvSpPr>
          <p:cNvPr id="10" name="Zástupný symbol pro obsah 2"/>
          <p:cNvSpPr>
            <a:spLocks noGrp="1"/>
          </p:cNvSpPr>
          <p:nvPr>
            <p:ph idx="13" hasCustomPrompt="1"/>
          </p:nvPr>
        </p:nvSpPr>
        <p:spPr>
          <a:xfrm>
            <a:off x="3762375" y="1314450"/>
            <a:ext cx="3167063" cy="4032250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/>
              <a:t>První úroveň</a:t>
            </a:r>
          </a:p>
          <a:p>
            <a:pPr lvl="1"/>
            <a:r>
              <a:rPr lang="cs-CZ" noProof="0"/>
              <a:t>Druhá úroveň</a:t>
            </a:r>
          </a:p>
          <a:p>
            <a:pPr lvl="2"/>
            <a:r>
              <a:rPr lang="cs-CZ" noProof="0"/>
              <a:t>Třetí úroveň</a:t>
            </a:r>
          </a:p>
          <a:p>
            <a:pPr lvl="3"/>
            <a:r>
              <a:rPr lang="cs-CZ" noProof="0"/>
              <a:t>Čtvrtá úroveň</a:t>
            </a:r>
          </a:p>
          <a:p>
            <a:pPr lvl="4"/>
            <a:r>
              <a:rPr lang="cs-CZ" noProof="0"/>
              <a:t>Pátá úroveň</a:t>
            </a:r>
          </a:p>
        </p:txBody>
      </p:sp>
      <p:sp>
        <p:nvSpPr>
          <p:cNvPr id="11" name="Zástupný symbol pro obsah 2"/>
          <p:cNvSpPr>
            <a:spLocks noGrp="1"/>
          </p:cNvSpPr>
          <p:nvPr>
            <p:ph idx="14" hasCustomPrompt="1"/>
          </p:nvPr>
        </p:nvSpPr>
        <p:spPr>
          <a:xfrm>
            <a:off x="7073900" y="1314450"/>
            <a:ext cx="3168650" cy="4032250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/>
              <a:t>První úroveň</a:t>
            </a:r>
          </a:p>
          <a:p>
            <a:pPr lvl="1"/>
            <a:r>
              <a:rPr lang="cs-CZ" noProof="0"/>
              <a:t>Druhá úroveň</a:t>
            </a:r>
          </a:p>
          <a:p>
            <a:pPr lvl="2"/>
            <a:r>
              <a:rPr lang="cs-CZ" noProof="0"/>
              <a:t>Třetí úroveň</a:t>
            </a:r>
          </a:p>
          <a:p>
            <a:pPr lvl="3"/>
            <a:r>
              <a:rPr lang="cs-CZ" noProof="0"/>
              <a:t>Čtvrtá úroveň</a:t>
            </a:r>
          </a:p>
          <a:p>
            <a:pPr lvl="4"/>
            <a:r>
              <a:rPr lang="cs-CZ" noProof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1290380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ADB3A0F4-8FD1-BB33-A8B9-BD088CAF92A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39693" y="5657211"/>
            <a:ext cx="1002857" cy="108000"/>
          </a:xfrm>
          <a:prstGeom prst="rect">
            <a:avLst/>
          </a:prstGeom>
        </p:spPr>
      </p:pic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802F308-AC92-5DF3-874F-EFBBB2062E7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418138" y="0"/>
            <a:ext cx="5273675" cy="6011863"/>
          </a:xfrm>
          <a:custGeom>
            <a:avLst/>
            <a:gdLst>
              <a:gd name="connsiteX0" fmla="*/ 4487654 w 5273675"/>
              <a:gd name="connsiteY0" fmla="*/ 5682866 h 6011863"/>
              <a:gd name="connsiteX1" fmla="*/ 4551760 w 5273675"/>
              <a:gd name="connsiteY1" fmla="*/ 5682866 h 6011863"/>
              <a:gd name="connsiteX2" fmla="*/ 4569114 w 5273675"/>
              <a:gd name="connsiteY2" fmla="*/ 5699607 h 6011863"/>
              <a:gd name="connsiteX3" fmla="*/ 4569114 w 5273675"/>
              <a:gd name="connsiteY3" fmla="*/ 5727577 h 6011863"/>
              <a:gd name="connsiteX4" fmla="*/ 4551760 w 5273675"/>
              <a:gd name="connsiteY4" fmla="*/ 5744318 h 6011863"/>
              <a:gd name="connsiteX5" fmla="*/ 4487654 w 5273675"/>
              <a:gd name="connsiteY5" fmla="*/ 5744318 h 6011863"/>
              <a:gd name="connsiteX6" fmla="*/ 4272791 w 5273675"/>
              <a:gd name="connsiteY6" fmla="*/ 5682866 h 6011863"/>
              <a:gd name="connsiteX7" fmla="*/ 4326893 w 5273675"/>
              <a:gd name="connsiteY7" fmla="*/ 5682866 h 6011863"/>
              <a:gd name="connsiteX8" fmla="*/ 4343022 w 5273675"/>
              <a:gd name="connsiteY8" fmla="*/ 5698586 h 6011863"/>
              <a:gd name="connsiteX9" fmla="*/ 4343022 w 5273675"/>
              <a:gd name="connsiteY9" fmla="*/ 5728598 h 6011863"/>
              <a:gd name="connsiteX10" fmla="*/ 4326893 w 5273675"/>
              <a:gd name="connsiteY10" fmla="*/ 5744318 h 6011863"/>
              <a:gd name="connsiteX11" fmla="*/ 4272791 w 5273675"/>
              <a:gd name="connsiteY11" fmla="*/ 5744318 h 6011863"/>
              <a:gd name="connsiteX12" fmla="*/ 4256662 w 5273675"/>
              <a:gd name="connsiteY12" fmla="*/ 5728598 h 6011863"/>
              <a:gd name="connsiteX13" fmla="*/ 4256662 w 5273675"/>
              <a:gd name="connsiteY13" fmla="*/ 5698586 h 6011863"/>
              <a:gd name="connsiteX14" fmla="*/ 4272791 w 5273675"/>
              <a:gd name="connsiteY14" fmla="*/ 5682866 h 6011863"/>
              <a:gd name="connsiteX15" fmla="*/ 4745604 w 5273675"/>
              <a:gd name="connsiteY15" fmla="*/ 5679803 h 6011863"/>
              <a:gd name="connsiteX16" fmla="*/ 4771539 w 5273675"/>
              <a:gd name="connsiteY16" fmla="*/ 5725739 h 6011863"/>
              <a:gd name="connsiteX17" fmla="*/ 4719676 w 5273675"/>
              <a:gd name="connsiteY17" fmla="*/ 5725739 h 6011863"/>
              <a:gd name="connsiteX18" fmla="*/ 4728046 w 5273675"/>
              <a:gd name="connsiteY18" fmla="*/ 5659592 h 6011863"/>
              <a:gd name="connsiteX19" fmla="*/ 4667412 w 5273675"/>
              <a:gd name="connsiteY19" fmla="*/ 5767592 h 6011863"/>
              <a:gd name="connsiteX20" fmla="*/ 4696202 w 5273675"/>
              <a:gd name="connsiteY20" fmla="*/ 5767592 h 6011863"/>
              <a:gd name="connsiteX21" fmla="*/ 4719067 w 5273675"/>
              <a:gd name="connsiteY21" fmla="*/ 5726964 h 6011863"/>
              <a:gd name="connsiteX22" fmla="*/ 4732952 w 5273675"/>
              <a:gd name="connsiteY22" fmla="*/ 5749014 h 6011863"/>
              <a:gd name="connsiteX23" fmla="*/ 4784600 w 5273675"/>
              <a:gd name="connsiteY23" fmla="*/ 5749014 h 6011863"/>
              <a:gd name="connsiteX24" fmla="*/ 4795014 w 5273675"/>
              <a:gd name="connsiteY24" fmla="*/ 5767592 h 6011863"/>
              <a:gd name="connsiteX25" fmla="*/ 4824413 w 5273675"/>
              <a:gd name="connsiteY25" fmla="*/ 5767592 h 6011863"/>
              <a:gd name="connsiteX26" fmla="*/ 4763779 w 5273675"/>
              <a:gd name="connsiteY26" fmla="*/ 5659592 h 6011863"/>
              <a:gd name="connsiteX27" fmla="*/ 4461930 w 5273675"/>
              <a:gd name="connsiteY27" fmla="*/ 5659592 h 6011863"/>
              <a:gd name="connsiteX28" fmla="*/ 4461930 w 5273675"/>
              <a:gd name="connsiteY28" fmla="*/ 5767592 h 6011863"/>
              <a:gd name="connsiteX29" fmla="*/ 4552373 w 5273675"/>
              <a:gd name="connsiteY29" fmla="*/ 5767592 h 6011863"/>
              <a:gd name="connsiteX30" fmla="*/ 4594836 w 5273675"/>
              <a:gd name="connsiteY30" fmla="*/ 5726352 h 6011863"/>
              <a:gd name="connsiteX31" fmla="*/ 4594836 w 5273675"/>
              <a:gd name="connsiteY31" fmla="*/ 5700832 h 6011863"/>
              <a:gd name="connsiteX32" fmla="*/ 4552373 w 5273675"/>
              <a:gd name="connsiteY32" fmla="*/ 5659592 h 6011863"/>
              <a:gd name="connsiteX33" fmla="*/ 4272178 w 5273675"/>
              <a:gd name="connsiteY33" fmla="*/ 5659592 h 6011863"/>
              <a:gd name="connsiteX34" fmla="*/ 4230938 w 5273675"/>
              <a:gd name="connsiteY34" fmla="*/ 5699811 h 6011863"/>
              <a:gd name="connsiteX35" fmla="*/ 4230938 w 5273675"/>
              <a:gd name="connsiteY35" fmla="*/ 5727373 h 6011863"/>
              <a:gd name="connsiteX36" fmla="*/ 4272178 w 5273675"/>
              <a:gd name="connsiteY36" fmla="*/ 5767592 h 6011863"/>
              <a:gd name="connsiteX37" fmla="*/ 4327505 w 5273675"/>
              <a:gd name="connsiteY37" fmla="*/ 5767592 h 6011863"/>
              <a:gd name="connsiteX38" fmla="*/ 4368746 w 5273675"/>
              <a:gd name="connsiteY38" fmla="*/ 5727373 h 6011863"/>
              <a:gd name="connsiteX39" fmla="*/ 4368746 w 5273675"/>
              <a:gd name="connsiteY39" fmla="*/ 5699811 h 6011863"/>
              <a:gd name="connsiteX40" fmla="*/ 4327505 w 5273675"/>
              <a:gd name="connsiteY40" fmla="*/ 5659592 h 6011863"/>
              <a:gd name="connsiteX41" fmla="*/ 4029150 w 5273675"/>
              <a:gd name="connsiteY41" fmla="*/ 5659592 h 6011863"/>
              <a:gd name="connsiteX42" fmla="*/ 4029150 w 5273675"/>
              <a:gd name="connsiteY42" fmla="*/ 5767592 h 6011863"/>
              <a:gd name="connsiteX43" fmla="*/ 4054875 w 5273675"/>
              <a:gd name="connsiteY43" fmla="*/ 5767592 h 6011863"/>
              <a:gd name="connsiteX44" fmla="*/ 4054875 w 5273675"/>
              <a:gd name="connsiteY44" fmla="*/ 5724923 h 6011863"/>
              <a:gd name="connsiteX45" fmla="*/ 4087949 w 5273675"/>
              <a:gd name="connsiteY45" fmla="*/ 5724923 h 6011863"/>
              <a:gd name="connsiteX46" fmla="*/ 4132251 w 5273675"/>
              <a:gd name="connsiteY46" fmla="*/ 5767592 h 6011863"/>
              <a:gd name="connsiteX47" fmla="*/ 4168387 w 5273675"/>
              <a:gd name="connsiteY47" fmla="*/ 5767592 h 6011863"/>
              <a:gd name="connsiteX48" fmla="*/ 4111018 w 5273675"/>
              <a:gd name="connsiteY48" fmla="*/ 5713286 h 6011863"/>
              <a:gd name="connsiteX49" fmla="*/ 4167367 w 5273675"/>
              <a:gd name="connsiteY49" fmla="*/ 5659592 h 6011863"/>
              <a:gd name="connsiteX50" fmla="*/ 4133272 w 5273675"/>
              <a:gd name="connsiteY50" fmla="*/ 5659592 h 6011863"/>
              <a:gd name="connsiteX51" fmla="*/ 4088969 w 5273675"/>
              <a:gd name="connsiteY51" fmla="*/ 5701649 h 6011863"/>
              <a:gd name="connsiteX52" fmla="*/ 4054875 w 5273675"/>
              <a:gd name="connsiteY52" fmla="*/ 5701649 h 6011863"/>
              <a:gd name="connsiteX53" fmla="*/ 4054875 w 5273675"/>
              <a:gd name="connsiteY53" fmla="*/ 5659592 h 6011863"/>
              <a:gd name="connsiteX54" fmla="*/ 3860550 w 5273675"/>
              <a:gd name="connsiteY54" fmla="*/ 5659592 h 6011863"/>
              <a:gd name="connsiteX55" fmla="*/ 3875250 w 5273675"/>
              <a:gd name="connsiteY55" fmla="*/ 5682049 h 6011863"/>
              <a:gd name="connsiteX56" fmla="*/ 3935069 w 5273675"/>
              <a:gd name="connsiteY56" fmla="*/ 5682049 h 6011863"/>
              <a:gd name="connsiteX57" fmla="*/ 3949360 w 5273675"/>
              <a:gd name="connsiteY57" fmla="*/ 5659592 h 6011863"/>
              <a:gd name="connsiteX58" fmla="*/ 3848301 w 5273675"/>
              <a:gd name="connsiteY58" fmla="*/ 5659592 h 6011863"/>
              <a:gd name="connsiteX59" fmla="*/ 3824619 w 5273675"/>
              <a:gd name="connsiteY59" fmla="*/ 5684499 h 6011863"/>
              <a:gd name="connsiteX60" fmla="*/ 3824619 w 5273675"/>
              <a:gd name="connsiteY60" fmla="*/ 5693482 h 6011863"/>
              <a:gd name="connsiteX61" fmla="*/ 3855242 w 5273675"/>
              <a:gd name="connsiteY61" fmla="*/ 5723698 h 6011863"/>
              <a:gd name="connsiteX62" fmla="*/ 3926494 w 5273675"/>
              <a:gd name="connsiteY62" fmla="*/ 5723698 h 6011863"/>
              <a:gd name="connsiteX63" fmla="*/ 3926494 w 5273675"/>
              <a:gd name="connsiteY63" fmla="*/ 5736968 h 6011863"/>
              <a:gd name="connsiteX64" fmla="*/ 3918736 w 5273675"/>
              <a:gd name="connsiteY64" fmla="*/ 5744726 h 6011863"/>
              <a:gd name="connsiteX65" fmla="*/ 3835847 w 5273675"/>
              <a:gd name="connsiteY65" fmla="*/ 5744726 h 6011863"/>
              <a:gd name="connsiteX66" fmla="*/ 3821556 w 5273675"/>
              <a:gd name="connsiteY66" fmla="*/ 5767592 h 6011863"/>
              <a:gd name="connsiteX67" fmla="*/ 3921186 w 5273675"/>
              <a:gd name="connsiteY67" fmla="*/ 5767592 h 6011863"/>
              <a:gd name="connsiteX68" fmla="*/ 3951810 w 5273675"/>
              <a:gd name="connsiteY68" fmla="*/ 5737377 h 6011863"/>
              <a:gd name="connsiteX69" fmla="*/ 3951810 w 5273675"/>
              <a:gd name="connsiteY69" fmla="*/ 5725535 h 6011863"/>
              <a:gd name="connsiteX70" fmla="*/ 3926698 w 5273675"/>
              <a:gd name="connsiteY70" fmla="*/ 5700832 h 6011863"/>
              <a:gd name="connsiteX71" fmla="*/ 3857692 w 5273675"/>
              <a:gd name="connsiteY71" fmla="*/ 5700832 h 6011863"/>
              <a:gd name="connsiteX72" fmla="*/ 3849934 w 5273675"/>
              <a:gd name="connsiteY72" fmla="*/ 5693074 h 6011863"/>
              <a:gd name="connsiteX73" fmla="*/ 3849934 w 5273675"/>
              <a:gd name="connsiteY73" fmla="*/ 5659592 h 6011863"/>
              <a:gd name="connsiteX74" fmla="*/ 0 w 5273675"/>
              <a:gd name="connsiteY74" fmla="*/ 0 h 6011863"/>
              <a:gd name="connsiteX75" fmla="*/ 5273675 w 5273675"/>
              <a:gd name="connsiteY75" fmla="*/ 0 h 6011863"/>
              <a:gd name="connsiteX76" fmla="*/ 5273675 w 5273675"/>
              <a:gd name="connsiteY76" fmla="*/ 6011863 h 6011863"/>
              <a:gd name="connsiteX77" fmla="*/ 0 w 5273675"/>
              <a:gd name="connsiteY77" fmla="*/ 6011863 h 6011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</a:cxnLst>
            <a:rect l="l" t="t" r="r" b="b"/>
            <a:pathLst>
              <a:path w="5273675" h="6011863">
                <a:moveTo>
                  <a:pt x="4487654" y="5682866"/>
                </a:moveTo>
                <a:lnTo>
                  <a:pt x="4551760" y="5682866"/>
                </a:lnTo>
                <a:cubicBezTo>
                  <a:pt x="4562377" y="5682866"/>
                  <a:pt x="4569114" y="5689399"/>
                  <a:pt x="4569114" y="5699607"/>
                </a:cubicBezTo>
                <a:lnTo>
                  <a:pt x="4569114" y="5727577"/>
                </a:lnTo>
                <a:cubicBezTo>
                  <a:pt x="4569114" y="5737785"/>
                  <a:pt x="4562377" y="5744318"/>
                  <a:pt x="4551760" y="5744318"/>
                </a:cubicBezTo>
                <a:lnTo>
                  <a:pt x="4487654" y="5744318"/>
                </a:lnTo>
                <a:close/>
                <a:moveTo>
                  <a:pt x="4272791" y="5682866"/>
                </a:moveTo>
                <a:lnTo>
                  <a:pt x="4326893" y="5682866"/>
                </a:lnTo>
                <a:cubicBezTo>
                  <a:pt x="4336692" y="5682866"/>
                  <a:pt x="4343022" y="5688991"/>
                  <a:pt x="4343022" y="5698586"/>
                </a:cubicBezTo>
                <a:lnTo>
                  <a:pt x="4343022" y="5728598"/>
                </a:lnTo>
                <a:cubicBezTo>
                  <a:pt x="4343022" y="5738194"/>
                  <a:pt x="4336692" y="5744318"/>
                  <a:pt x="4326893" y="5744318"/>
                </a:cubicBezTo>
                <a:lnTo>
                  <a:pt x="4272791" y="5744318"/>
                </a:lnTo>
                <a:cubicBezTo>
                  <a:pt x="4262991" y="5744318"/>
                  <a:pt x="4256662" y="5738193"/>
                  <a:pt x="4256662" y="5728598"/>
                </a:cubicBezTo>
                <a:lnTo>
                  <a:pt x="4256662" y="5698586"/>
                </a:lnTo>
                <a:cubicBezTo>
                  <a:pt x="4256662" y="5688991"/>
                  <a:pt x="4262991" y="5682866"/>
                  <a:pt x="4272791" y="5682866"/>
                </a:cubicBezTo>
                <a:close/>
                <a:moveTo>
                  <a:pt x="4745604" y="5679803"/>
                </a:moveTo>
                <a:lnTo>
                  <a:pt x="4771539" y="5725739"/>
                </a:lnTo>
                <a:lnTo>
                  <a:pt x="4719676" y="5725739"/>
                </a:lnTo>
                <a:close/>
                <a:moveTo>
                  <a:pt x="4728046" y="5659592"/>
                </a:moveTo>
                <a:lnTo>
                  <a:pt x="4667412" y="5767592"/>
                </a:lnTo>
                <a:lnTo>
                  <a:pt x="4696202" y="5767592"/>
                </a:lnTo>
                <a:lnTo>
                  <a:pt x="4719067" y="5726964"/>
                </a:lnTo>
                <a:lnTo>
                  <a:pt x="4732952" y="5749014"/>
                </a:lnTo>
                <a:lnTo>
                  <a:pt x="4784600" y="5749014"/>
                </a:lnTo>
                <a:lnTo>
                  <a:pt x="4795014" y="5767592"/>
                </a:lnTo>
                <a:lnTo>
                  <a:pt x="4824413" y="5767592"/>
                </a:lnTo>
                <a:lnTo>
                  <a:pt x="4763779" y="5659592"/>
                </a:lnTo>
                <a:close/>
                <a:moveTo>
                  <a:pt x="4461930" y="5659592"/>
                </a:moveTo>
                <a:lnTo>
                  <a:pt x="4461930" y="5767592"/>
                </a:lnTo>
                <a:lnTo>
                  <a:pt x="4552373" y="5767592"/>
                </a:lnTo>
                <a:cubicBezTo>
                  <a:pt x="4579322" y="5767592"/>
                  <a:pt x="4594836" y="5752076"/>
                  <a:pt x="4594836" y="5726352"/>
                </a:cubicBezTo>
                <a:lnTo>
                  <a:pt x="4594836" y="5700832"/>
                </a:lnTo>
                <a:cubicBezTo>
                  <a:pt x="4594836" y="5675108"/>
                  <a:pt x="4579322" y="5659592"/>
                  <a:pt x="4552373" y="5659592"/>
                </a:cubicBezTo>
                <a:close/>
                <a:moveTo>
                  <a:pt x="4272178" y="5659592"/>
                </a:moveTo>
                <a:cubicBezTo>
                  <a:pt x="4246045" y="5659592"/>
                  <a:pt x="4230938" y="5674700"/>
                  <a:pt x="4230938" y="5699811"/>
                </a:cubicBezTo>
                <a:lnTo>
                  <a:pt x="4230938" y="5727373"/>
                </a:lnTo>
                <a:cubicBezTo>
                  <a:pt x="4230938" y="5752484"/>
                  <a:pt x="4246046" y="5767592"/>
                  <a:pt x="4272178" y="5767592"/>
                </a:cubicBezTo>
                <a:lnTo>
                  <a:pt x="4327505" y="5767592"/>
                </a:lnTo>
                <a:cubicBezTo>
                  <a:pt x="4353638" y="5767592"/>
                  <a:pt x="4368746" y="5752484"/>
                  <a:pt x="4368746" y="5727373"/>
                </a:cubicBezTo>
                <a:lnTo>
                  <a:pt x="4368746" y="5699811"/>
                </a:lnTo>
                <a:cubicBezTo>
                  <a:pt x="4368746" y="5674700"/>
                  <a:pt x="4353637" y="5659592"/>
                  <a:pt x="4327505" y="5659592"/>
                </a:cubicBezTo>
                <a:close/>
                <a:moveTo>
                  <a:pt x="4029150" y="5659592"/>
                </a:moveTo>
                <a:lnTo>
                  <a:pt x="4029150" y="5767592"/>
                </a:lnTo>
                <a:lnTo>
                  <a:pt x="4054875" y="5767592"/>
                </a:lnTo>
                <a:lnTo>
                  <a:pt x="4054875" y="5724923"/>
                </a:lnTo>
                <a:lnTo>
                  <a:pt x="4087949" y="5724923"/>
                </a:lnTo>
                <a:lnTo>
                  <a:pt x="4132251" y="5767592"/>
                </a:lnTo>
                <a:lnTo>
                  <a:pt x="4168387" y="5767592"/>
                </a:lnTo>
                <a:lnTo>
                  <a:pt x="4111018" y="5713286"/>
                </a:lnTo>
                <a:lnTo>
                  <a:pt x="4167367" y="5659592"/>
                </a:lnTo>
                <a:lnTo>
                  <a:pt x="4133272" y="5659592"/>
                </a:lnTo>
                <a:lnTo>
                  <a:pt x="4088969" y="5701649"/>
                </a:lnTo>
                <a:lnTo>
                  <a:pt x="4054875" y="5701649"/>
                </a:lnTo>
                <a:lnTo>
                  <a:pt x="4054875" y="5659592"/>
                </a:lnTo>
                <a:close/>
                <a:moveTo>
                  <a:pt x="3860550" y="5659592"/>
                </a:moveTo>
                <a:lnTo>
                  <a:pt x="3875250" y="5682049"/>
                </a:lnTo>
                <a:lnTo>
                  <a:pt x="3935069" y="5682049"/>
                </a:lnTo>
                <a:lnTo>
                  <a:pt x="3949360" y="5659592"/>
                </a:lnTo>
                <a:close/>
                <a:moveTo>
                  <a:pt x="3848301" y="5659592"/>
                </a:moveTo>
                <a:cubicBezTo>
                  <a:pt x="3833806" y="5659592"/>
                  <a:pt x="3824619" y="5668983"/>
                  <a:pt x="3824619" y="5684499"/>
                </a:cubicBezTo>
                <a:lnTo>
                  <a:pt x="3824619" y="5693482"/>
                </a:lnTo>
                <a:cubicBezTo>
                  <a:pt x="3824619" y="5714307"/>
                  <a:pt x="3834010" y="5723698"/>
                  <a:pt x="3855242" y="5723698"/>
                </a:cubicBezTo>
                <a:lnTo>
                  <a:pt x="3926494" y="5723698"/>
                </a:lnTo>
                <a:lnTo>
                  <a:pt x="3926494" y="5736968"/>
                </a:lnTo>
                <a:cubicBezTo>
                  <a:pt x="3926494" y="5741664"/>
                  <a:pt x="3923432" y="5744726"/>
                  <a:pt x="3918736" y="5744726"/>
                </a:cubicBezTo>
                <a:lnTo>
                  <a:pt x="3835847" y="5744726"/>
                </a:lnTo>
                <a:lnTo>
                  <a:pt x="3821556" y="5767592"/>
                </a:lnTo>
                <a:lnTo>
                  <a:pt x="3921186" y="5767592"/>
                </a:lnTo>
                <a:cubicBezTo>
                  <a:pt x="3941806" y="5767592"/>
                  <a:pt x="3951810" y="5757588"/>
                  <a:pt x="3951810" y="5737377"/>
                </a:cubicBezTo>
                <a:lnTo>
                  <a:pt x="3951810" y="5725535"/>
                </a:lnTo>
                <a:cubicBezTo>
                  <a:pt x="3951810" y="5710223"/>
                  <a:pt x="3942418" y="5700832"/>
                  <a:pt x="3926698" y="5700832"/>
                </a:cubicBezTo>
                <a:lnTo>
                  <a:pt x="3857692" y="5700832"/>
                </a:lnTo>
                <a:cubicBezTo>
                  <a:pt x="3852997" y="5700832"/>
                  <a:pt x="3849934" y="5697770"/>
                  <a:pt x="3849934" y="5693074"/>
                </a:cubicBezTo>
                <a:lnTo>
                  <a:pt x="3849934" y="5659592"/>
                </a:lnTo>
                <a:close/>
                <a:moveTo>
                  <a:pt x="0" y="0"/>
                </a:moveTo>
                <a:lnTo>
                  <a:pt x="5273675" y="0"/>
                </a:lnTo>
                <a:lnTo>
                  <a:pt x="5273675" y="6011863"/>
                </a:lnTo>
                <a:lnTo>
                  <a:pt x="0" y="6011863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Obrázek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310DF32-F382-E76F-052A-ADD2ECABD4D2}"/>
              </a:ext>
            </a:extLst>
          </p:cNvPr>
          <p:cNvSpPr/>
          <p:nvPr userDrawn="1"/>
        </p:nvSpPr>
        <p:spPr>
          <a:xfrm>
            <a:off x="0" y="0"/>
            <a:ext cx="5418138" cy="60118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noProof="0"/>
          </a:p>
        </p:txBody>
      </p:sp>
      <p:sp>
        <p:nvSpPr>
          <p:cNvPr id="3" name="Zástupný symbol pro obsah 2"/>
          <p:cNvSpPr>
            <a:spLocks noGrp="1"/>
          </p:cNvSpPr>
          <p:nvPr>
            <p:ph idx="1" hasCustomPrompt="1"/>
          </p:nvPr>
        </p:nvSpPr>
        <p:spPr>
          <a:xfrm>
            <a:off x="449263" y="1314450"/>
            <a:ext cx="4536000" cy="4032250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/>
              <a:t>První úroveň</a:t>
            </a:r>
          </a:p>
          <a:p>
            <a:pPr lvl="1"/>
            <a:r>
              <a:rPr lang="cs-CZ" noProof="0"/>
              <a:t>Druhá úroveň</a:t>
            </a:r>
          </a:p>
          <a:p>
            <a:pPr lvl="2"/>
            <a:r>
              <a:rPr lang="cs-CZ" noProof="0"/>
              <a:t>Třetí úroveň</a:t>
            </a:r>
          </a:p>
          <a:p>
            <a:pPr lvl="3"/>
            <a:r>
              <a:rPr lang="cs-CZ" noProof="0"/>
              <a:t>Čtvrtá úroveň</a:t>
            </a:r>
          </a:p>
          <a:p>
            <a:pPr lvl="4"/>
            <a:r>
              <a:rPr lang="cs-CZ" noProof="0"/>
              <a:t>Pátá úroveň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en-US" noProof="0"/>
              <a:t>S15 | 08.06.2023 | Future city tech | VTO | Miroslav Holan</a:t>
            </a:r>
            <a:endParaRPr lang="cs-CZ" noProof="0"/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648000"/>
            <a:ext cx="4535999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/>
              <a:t>Podnadpis</a:t>
            </a:r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>
          <a:xfrm>
            <a:off x="449264" y="269875"/>
            <a:ext cx="4535999" cy="360000"/>
          </a:xfrm>
        </p:spPr>
        <p:txBody>
          <a:bodyPr/>
          <a:lstStyle>
            <a:lvl1pPr>
              <a:defRPr/>
            </a:lvl1pPr>
          </a:lstStyle>
          <a:p>
            <a:r>
              <a:rPr lang="cs-CZ" noProof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25904934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en-US" noProof="0"/>
              <a:t>S15 | 08.06.2023 | Future city tech | VTO | Miroslav Holan</a:t>
            </a:r>
            <a:endParaRPr lang="cs-CZ" noProof="0"/>
          </a:p>
        </p:txBody>
      </p:sp>
      <p:sp>
        <p:nvSpPr>
          <p:cNvPr id="9" name="Zástupný symbol pro text 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1314450"/>
            <a:ext cx="3168650" cy="4032250"/>
          </a:xfrm>
        </p:spPr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/>
              <a:t>První úroveň</a:t>
            </a:r>
          </a:p>
          <a:p>
            <a:pPr lvl="1"/>
            <a:r>
              <a:rPr lang="cs-CZ" noProof="0"/>
              <a:t>Druhá úroveň</a:t>
            </a:r>
          </a:p>
          <a:p>
            <a:pPr lvl="2"/>
            <a:r>
              <a:rPr lang="cs-CZ" noProof="0"/>
              <a:t>Třetí úroveň</a:t>
            </a:r>
          </a:p>
          <a:p>
            <a:pPr lvl="3"/>
            <a:r>
              <a:rPr lang="cs-CZ" noProof="0"/>
              <a:t>Čtvrtá úroveň</a:t>
            </a:r>
          </a:p>
          <a:p>
            <a:pPr lvl="4"/>
            <a:r>
              <a:rPr lang="cs-CZ" noProof="0"/>
              <a:t>Pátá úroveň</a:t>
            </a:r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3762375" y="1314450"/>
            <a:ext cx="6480175" cy="4032250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Obrázek</a:t>
            </a:r>
          </a:p>
        </p:txBody>
      </p:sp>
      <p:sp>
        <p:nvSpPr>
          <p:cNvPr id="15" name="Zástupný symbol pro text 28"/>
          <p:cNvSpPr>
            <a:spLocks noGrp="1"/>
          </p:cNvSpPr>
          <p:nvPr>
            <p:ph type="body" sz="quarter" idx="14" hasCustomPrompt="1"/>
          </p:nvPr>
        </p:nvSpPr>
        <p:spPr>
          <a:xfrm>
            <a:off x="449263" y="648000"/>
            <a:ext cx="9793287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/>
              <a:t>Podnadpis</a:t>
            </a:r>
          </a:p>
        </p:txBody>
      </p:sp>
      <p:sp>
        <p:nvSpPr>
          <p:cNvPr id="4" name="Nadpis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363761841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&amp;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en-US" noProof="0"/>
              <a:t>S15 | 08.06.2023 | Future city tech | VTO | Miroslav Holan</a:t>
            </a:r>
            <a:endParaRPr lang="cs-CZ" noProof="0"/>
          </a:p>
        </p:txBody>
      </p:sp>
      <p:sp>
        <p:nvSpPr>
          <p:cNvPr id="6" name="Zástupný symbol pro obrázek 10">
            <a:extLst>
              <a:ext uri="{FF2B5EF4-FFF2-40B4-BE49-F238E27FC236}">
                <a16:creationId xmlns:a16="http://schemas.microsoft.com/office/drawing/2014/main" id="{D342297C-903D-33B7-EE74-B657A96671C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0691813" cy="5346700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Obrázek</a:t>
            </a:r>
          </a:p>
        </p:txBody>
      </p:sp>
    </p:spTree>
    <p:extLst>
      <p:ext uri="{BB962C8B-B14F-4D97-AF65-F5344CB8AC3E}">
        <p14:creationId xmlns:p14="http://schemas.microsoft.com/office/powerpoint/2010/main" val="298354066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en-US" noProof="0"/>
              <a:t>S15 | 08.06.2023 | Future city tech | VTO | Miroslav Holan</a:t>
            </a:r>
            <a:endParaRPr lang="cs-CZ" noProof="0"/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449263" y="900000"/>
            <a:ext cx="9793288" cy="4446700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Obrázek</a:t>
            </a:r>
          </a:p>
        </p:txBody>
      </p:sp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309520884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ástupný symbol pro text 12">
            <a:extLst>
              <a:ext uri="{FF2B5EF4-FFF2-40B4-BE49-F238E27FC236}">
                <a16:creationId xmlns:a16="http://schemas.microsoft.com/office/drawing/2014/main" id="{A6B2640B-D782-F371-CA4F-1DE716E6430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263" y="3834000"/>
            <a:ext cx="3167934" cy="1512000"/>
          </a:xfrm>
        </p:spPr>
        <p:txBody>
          <a:bodyPr anchor="t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/>
              <a:t>Detaily</a:t>
            </a:r>
          </a:p>
        </p:txBody>
      </p:sp>
      <p:sp>
        <p:nvSpPr>
          <p:cNvPr id="10" name="Zástupný symbol pro text 12">
            <a:extLst>
              <a:ext uri="{FF2B5EF4-FFF2-40B4-BE49-F238E27FC236}">
                <a16:creationId xmlns:a16="http://schemas.microsoft.com/office/drawing/2014/main" id="{495C32C4-7CA1-C2BF-FBF5-BF42F7AD34D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62375" y="3834000"/>
            <a:ext cx="3167934" cy="1512000"/>
          </a:xfrm>
        </p:spPr>
        <p:txBody>
          <a:bodyPr anchor="t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/>
              <a:t>Detaily</a:t>
            </a:r>
          </a:p>
        </p:txBody>
      </p:sp>
      <p:sp>
        <p:nvSpPr>
          <p:cNvPr id="21" name="Zástupný symbol pro text 12">
            <a:extLst>
              <a:ext uri="{FF2B5EF4-FFF2-40B4-BE49-F238E27FC236}">
                <a16:creationId xmlns:a16="http://schemas.microsoft.com/office/drawing/2014/main" id="{F9F06556-A77B-B4AC-B11D-2942230DC96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073142" y="3834000"/>
            <a:ext cx="3167934" cy="1512000"/>
          </a:xfrm>
        </p:spPr>
        <p:txBody>
          <a:bodyPr anchor="t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/>
              <a:t>Detaily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en-US" noProof="0"/>
              <a:t>S15 | 08.06.2023 | Future city tech | VTO | Miroslav Holan</a:t>
            </a:r>
            <a:endParaRPr lang="cs-CZ" noProof="0"/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449979" y="1314449"/>
            <a:ext cx="3167934" cy="2087563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Obrázek</a:t>
            </a:r>
          </a:p>
        </p:txBody>
      </p:sp>
      <p:sp>
        <p:nvSpPr>
          <p:cNvPr id="13" name="Zástupný symbol pro text 12"/>
          <p:cNvSpPr>
            <a:spLocks noGrp="1"/>
          </p:cNvSpPr>
          <p:nvPr>
            <p:ph type="body" sz="quarter" idx="14" hasCustomPrompt="1"/>
          </p:nvPr>
        </p:nvSpPr>
        <p:spPr>
          <a:xfrm>
            <a:off x="450000" y="3510000"/>
            <a:ext cx="3167934" cy="216000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 b="1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/>
              <a:t>Titulek</a:t>
            </a:r>
          </a:p>
        </p:txBody>
      </p:sp>
      <p:sp>
        <p:nvSpPr>
          <p:cNvPr id="24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648000"/>
            <a:ext cx="9793287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/>
              <a:t>Podnadpis</a:t>
            </a:r>
          </a:p>
        </p:txBody>
      </p:sp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/>
              <a:t>Nadpis (shrnutí stránky)</a:t>
            </a:r>
          </a:p>
        </p:txBody>
      </p:sp>
      <p:sp>
        <p:nvSpPr>
          <p:cNvPr id="6" name="Zástupný symbol pro obrázek 10">
            <a:extLst>
              <a:ext uri="{FF2B5EF4-FFF2-40B4-BE49-F238E27FC236}">
                <a16:creationId xmlns:a16="http://schemas.microsoft.com/office/drawing/2014/main" id="{4D25A0D5-25EA-D8DF-CB51-891DE68E94D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763091" y="1314449"/>
            <a:ext cx="3167934" cy="2087563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Obrázek</a:t>
            </a:r>
          </a:p>
        </p:txBody>
      </p:sp>
      <p:sp>
        <p:nvSpPr>
          <p:cNvPr id="9" name="Zástupný symbol pro text 12">
            <a:extLst>
              <a:ext uri="{FF2B5EF4-FFF2-40B4-BE49-F238E27FC236}">
                <a16:creationId xmlns:a16="http://schemas.microsoft.com/office/drawing/2014/main" id="{7460970A-5969-77C3-EB7C-1FF997745C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763112" y="3510000"/>
            <a:ext cx="3167934" cy="216000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 b="1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/>
              <a:t>Titulek</a:t>
            </a:r>
          </a:p>
        </p:txBody>
      </p:sp>
      <p:sp>
        <p:nvSpPr>
          <p:cNvPr id="12" name="Zástupný symbol pro obrázek 10">
            <a:extLst>
              <a:ext uri="{FF2B5EF4-FFF2-40B4-BE49-F238E27FC236}">
                <a16:creationId xmlns:a16="http://schemas.microsoft.com/office/drawing/2014/main" id="{4E680B22-40D0-9296-B85E-0D1107B14EC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7073858" y="1314449"/>
            <a:ext cx="3167934" cy="2087563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Obrázek</a:t>
            </a:r>
          </a:p>
        </p:txBody>
      </p:sp>
      <p:sp>
        <p:nvSpPr>
          <p:cNvPr id="20" name="Zástupný symbol pro text 12">
            <a:extLst>
              <a:ext uri="{FF2B5EF4-FFF2-40B4-BE49-F238E27FC236}">
                <a16:creationId xmlns:a16="http://schemas.microsoft.com/office/drawing/2014/main" id="{4DE1D234-3B1E-4C6E-1E4D-8FA494E038D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073879" y="3510000"/>
            <a:ext cx="3167934" cy="216000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 b="1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/>
              <a:t>Titulek</a:t>
            </a:r>
          </a:p>
        </p:txBody>
      </p:sp>
    </p:spTree>
    <p:extLst>
      <p:ext uri="{BB962C8B-B14F-4D97-AF65-F5344CB8AC3E}">
        <p14:creationId xmlns:p14="http://schemas.microsoft.com/office/powerpoint/2010/main" val="96819115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tli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en-US" noProof="0"/>
              <a:t>S15 | 08.06.2023 | Future city tech | VTO | Miroslav Holan</a:t>
            </a:r>
            <a:endParaRPr lang="cs-CZ" noProof="0"/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449979" y="1314450"/>
            <a:ext cx="4823696" cy="1691100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Obrázek</a:t>
            </a:r>
          </a:p>
        </p:txBody>
      </p:sp>
      <p:sp>
        <p:nvSpPr>
          <p:cNvPr id="13" name="Zástupný symbol pro text 12"/>
          <p:cNvSpPr>
            <a:spLocks noGrp="1"/>
          </p:cNvSpPr>
          <p:nvPr>
            <p:ph type="body" sz="quarter" idx="14" hasCustomPrompt="1"/>
          </p:nvPr>
        </p:nvSpPr>
        <p:spPr>
          <a:xfrm>
            <a:off x="449979" y="3077550"/>
            <a:ext cx="4823696" cy="180000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/>
              <a:t>Titulek</a:t>
            </a:r>
          </a:p>
        </p:txBody>
      </p:sp>
      <p:sp>
        <p:nvSpPr>
          <p:cNvPr id="14" name="Zástupný symbol pro obrázek 10"/>
          <p:cNvSpPr>
            <a:spLocks noGrp="1"/>
          </p:cNvSpPr>
          <p:nvPr>
            <p:ph type="pic" sz="quarter" idx="15" hasCustomPrompt="1"/>
          </p:nvPr>
        </p:nvSpPr>
        <p:spPr>
          <a:xfrm>
            <a:off x="449263" y="3402900"/>
            <a:ext cx="4823696" cy="1691100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Obrázek</a:t>
            </a:r>
          </a:p>
        </p:txBody>
      </p:sp>
      <p:sp>
        <p:nvSpPr>
          <p:cNvPr id="15" name="Zástupný symbol pro text 12"/>
          <p:cNvSpPr>
            <a:spLocks noGrp="1"/>
          </p:cNvSpPr>
          <p:nvPr>
            <p:ph type="body" sz="quarter" idx="16" hasCustomPrompt="1"/>
          </p:nvPr>
        </p:nvSpPr>
        <p:spPr>
          <a:xfrm>
            <a:off x="449263" y="5166000"/>
            <a:ext cx="4823696" cy="180000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/>
              <a:t>Titulek</a:t>
            </a:r>
          </a:p>
        </p:txBody>
      </p:sp>
      <p:sp>
        <p:nvSpPr>
          <p:cNvPr id="16" name="Zástupný symbol pro obrázek 10"/>
          <p:cNvSpPr>
            <a:spLocks noGrp="1"/>
          </p:cNvSpPr>
          <p:nvPr>
            <p:ph type="pic" sz="quarter" idx="17" hasCustomPrompt="1"/>
          </p:nvPr>
        </p:nvSpPr>
        <p:spPr>
          <a:xfrm>
            <a:off x="5419570" y="1314450"/>
            <a:ext cx="4823696" cy="1691100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Obrázek</a:t>
            </a:r>
          </a:p>
        </p:txBody>
      </p:sp>
      <p:sp>
        <p:nvSpPr>
          <p:cNvPr id="17" name="Zástupný symbol pro text 12"/>
          <p:cNvSpPr>
            <a:spLocks noGrp="1"/>
          </p:cNvSpPr>
          <p:nvPr>
            <p:ph type="body" sz="quarter" idx="18" hasCustomPrompt="1"/>
          </p:nvPr>
        </p:nvSpPr>
        <p:spPr>
          <a:xfrm>
            <a:off x="5419570" y="3077550"/>
            <a:ext cx="4823696" cy="180000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/>
              <a:t>Titulek</a:t>
            </a:r>
          </a:p>
        </p:txBody>
      </p:sp>
      <p:sp>
        <p:nvSpPr>
          <p:cNvPr id="18" name="Zástupný symbol pro obrázek 10"/>
          <p:cNvSpPr>
            <a:spLocks noGrp="1"/>
          </p:cNvSpPr>
          <p:nvPr>
            <p:ph type="pic" sz="quarter" idx="19" hasCustomPrompt="1"/>
          </p:nvPr>
        </p:nvSpPr>
        <p:spPr>
          <a:xfrm>
            <a:off x="5418854" y="3402900"/>
            <a:ext cx="4823696" cy="1691100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Obrázek</a:t>
            </a:r>
          </a:p>
        </p:txBody>
      </p:sp>
      <p:sp>
        <p:nvSpPr>
          <p:cNvPr id="19" name="Zástupný symbol pro text 12"/>
          <p:cNvSpPr>
            <a:spLocks noGrp="1"/>
          </p:cNvSpPr>
          <p:nvPr>
            <p:ph type="body" sz="quarter" idx="20" hasCustomPrompt="1"/>
          </p:nvPr>
        </p:nvSpPr>
        <p:spPr>
          <a:xfrm>
            <a:off x="5418854" y="5166000"/>
            <a:ext cx="4823696" cy="180000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/>
              <a:t>Titulek</a:t>
            </a:r>
          </a:p>
        </p:txBody>
      </p:sp>
      <p:sp>
        <p:nvSpPr>
          <p:cNvPr id="24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648000"/>
            <a:ext cx="9793287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/>
              <a:t>Podnadpis</a:t>
            </a:r>
          </a:p>
        </p:txBody>
      </p:sp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29532054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phic 13">
            <a:extLst>
              <a:ext uri="{FF2B5EF4-FFF2-40B4-BE49-F238E27FC236}">
                <a16:creationId xmlns:a16="http://schemas.microsoft.com/office/drawing/2014/main" id="{B8C2D215-3FCB-242D-A235-4DF1AF0721C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41200" y="5659200"/>
            <a:ext cx="1002857" cy="108000"/>
          </a:xfrm>
          <a:prstGeom prst="rect">
            <a:avLst/>
          </a:prstGeom>
        </p:spPr>
      </p:pic>
      <p:sp>
        <p:nvSpPr>
          <p:cNvPr id="20" name="Rectangle 8">
            <a:extLst>
              <a:ext uri="{FF2B5EF4-FFF2-40B4-BE49-F238E27FC236}">
                <a16:creationId xmlns:a16="http://schemas.microsoft.com/office/drawing/2014/main" id="{5459F715-91F7-0B24-F89E-0431C352C5F9}"/>
              </a:ext>
            </a:extLst>
          </p:cNvPr>
          <p:cNvSpPr/>
          <p:nvPr userDrawn="1"/>
        </p:nvSpPr>
        <p:spPr>
          <a:xfrm>
            <a:off x="0" y="-1"/>
            <a:ext cx="7132763" cy="6011863"/>
          </a:xfrm>
          <a:custGeom>
            <a:avLst/>
            <a:gdLst>
              <a:gd name="connsiteX0" fmla="*/ 0 w 7128000"/>
              <a:gd name="connsiteY0" fmla="*/ 0 h 6011863"/>
              <a:gd name="connsiteX1" fmla="*/ 7128000 w 7128000"/>
              <a:gd name="connsiteY1" fmla="*/ 0 h 6011863"/>
              <a:gd name="connsiteX2" fmla="*/ 7128000 w 7128000"/>
              <a:gd name="connsiteY2" fmla="*/ 6011863 h 6011863"/>
              <a:gd name="connsiteX3" fmla="*/ 0 w 7128000"/>
              <a:gd name="connsiteY3" fmla="*/ 6011863 h 6011863"/>
              <a:gd name="connsiteX4" fmla="*/ 0 w 7128000"/>
              <a:gd name="connsiteY4" fmla="*/ 0 h 6011863"/>
              <a:gd name="connsiteX0" fmla="*/ 0 w 7128000"/>
              <a:gd name="connsiteY0" fmla="*/ 0 h 6011863"/>
              <a:gd name="connsiteX1" fmla="*/ 7128000 w 7128000"/>
              <a:gd name="connsiteY1" fmla="*/ 0 h 6011863"/>
              <a:gd name="connsiteX2" fmla="*/ 5537325 w 7128000"/>
              <a:gd name="connsiteY2" fmla="*/ 6011863 h 6011863"/>
              <a:gd name="connsiteX3" fmla="*/ 0 w 7128000"/>
              <a:gd name="connsiteY3" fmla="*/ 6011863 h 6011863"/>
              <a:gd name="connsiteX4" fmla="*/ 0 w 7128000"/>
              <a:gd name="connsiteY4" fmla="*/ 0 h 6011863"/>
              <a:gd name="connsiteX0" fmla="*/ 0 w 7128000"/>
              <a:gd name="connsiteY0" fmla="*/ 0 h 6011863"/>
              <a:gd name="connsiteX1" fmla="*/ 7128000 w 7128000"/>
              <a:gd name="connsiteY1" fmla="*/ 0 h 6011863"/>
              <a:gd name="connsiteX2" fmla="*/ 5544469 w 7128000"/>
              <a:gd name="connsiteY2" fmla="*/ 6011863 h 6011863"/>
              <a:gd name="connsiteX3" fmla="*/ 0 w 7128000"/>
              <a:gd name="connsiteY3" fmla="*/ 6011863 h 6011863"/>
              <a:gd name="connsiteX4" fmla="*/ 0 w 7128000"/>
              <a:gd name="connsiteY4" fmla="*/ 0 h 6011863"/>
              <a:gd name="connsiteX0" fmla="*/ 0 w 7128000"/>
              <a:gd name="connsiteY0" fmla="*/ 0 h 6011863"/>
              <a:gd name="connsiteX1" fmla="*/ 7128000 w 7128000"/>
              <a:gd name="connsiteY1" fmla="*/ 0 h 6011863"/>
              <a:gd name="connsiteX2" fmla="*/ 5546850 w 7128000"/>
              <a:gd name="connsiteY2" fmla="*/ 6011863 h 6011863"/>
              <a:gd name="connsiteX3" fmla="*/ 0 w 7128000"/>
              <a:gd name="connsiteY3" fmla="*/ 6011863 h 6011863"/>
              <a:gd name="connsiteX4" fmla="*/ 0 w 7128000"/>
              <a:gd name="connsiteY4" fmla="*/ 0 h 6011863"/>
              <a:gd name="connsiteX0" fmla="*/ 0 w 7132763"/>
              <a:gd name="connsiteY0" fmla="*/ 0 h 6011863"/>
              <a:gd name="connsiteX1" fmla="*/ 7132763 w 7132763"/>
              <a:gd name="connsiteY1" fmla="*/ 0 h 6011863"/>
              <a:gd name="connsiteX2" fmla="*/ 5546850 w 7132763"/>
              <a:gd name="connsiteY2" fmla="*/ 6011863 h 6011863"/>
              <a:gd name="connsiteX3" fmla="*/ 0 w 7132763"/>
              <a:gd name="connsiteY3" fmla="*/ 6011863 h 6011863"/>
              <a:gd name="connsiteX4" fmla="*/ 0 w 7132763"/>
              <a:gd name="connsiteY4" fmla="*/ 0 h 6011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132763" h="6011863">
                <a:moveTo>
                  <a:pt x="0" y="0"/>
                </a:moveTo>
                <a:lnTo>
                  <a:pt x="7132763" y="0"/>
                </a:lnTo>
                <a:lnTo>
                  <a:pt x="5546850" y="6011863"/>
                </a:lnTo>
                <a:lnTo>
                  <a:pt x="0" y="601186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noProof="0"/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003878D3-764A-09F2-651C-204CDCBB266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544469" y="0"/>
            <a:ext cx="5147304" cy="6011862"/>
          </a:xfrm>
          <a:custGeom>
            <a:avLst/>
            <a:gdLst>
              <a:gd name="connsiteX0" fmla="*/ 4361322 w 5147304"/>
              <a:gd name="connsiteY0" fmla="*/ 5682474 h 6011862"/>
              <a:gd name="connsiteX1" fmla="*/ 4425429 w 5147304"/>
              <a:gd name="connsiteY1" fmla="*/ 5682474 h 6011862"/>
              <a:gd name="connsiteX2" fmla="*/ 4442782 w 5147304"/>
              <a:gd name="connsiteY2" fmla="*/ 5699215 h 6011862"/>
              <a:gd name="connsiteX3" fmla="*/ 4442782 w 5147304"/>
              <a:gd name="connsiteY3" fmla="*/ 5727185 h 6011862"/>
              <a:gd name="connsiteX4" fmla="*/ 4425429 w 5147304"/>
              <a:gd name="connsiteY4" fmla="*/ 5743926 h 6011862"/>
              <a:gd name="connsiteX5" fmla="*/ 4361322 w 5147304"/>
              <a:gd name="connsiteY5" fmla="*/ 5743926 h 6011862"/>
              <a:gd name="connsiteX6" fmla="*/ 4146459 w 5147304"/>
              <a:gd name="connsiteY6" fmla="*/ 5682474 h 6011862"/>
              <a:gd name="connsiteX7" fmla="*/ 4200561 w 5147304"/>
              <a:gd name="connsiteY7" fmla="*/ 5682474 h 6011862"/>
              <a:gd name="connsiteX8" fmla="*/ 4216690 w 5147304"/>
              <a:gd name="connsiteY8" fmla="*/ 5698194 h 6011862"/>
              <a:gd name="connsiteX9" fmla="*/ 4216690 w 5147304"/>
              <a:gd name="connsiteY9" fmla="*/ 5728206 h 6011862"/>
              <a:gd name="connsiteX10" fmla="*/ 4200561 w 5147304"/>
              <a:gd name="connsiteY10" fmla="*/ 5743926 h 6011862"/>
              <a:gd name="connsiteX11" fmla="*/ 4146459 w 5147304"/>
              <a:gd name="connsiteY11" fmla="*/ 5743926 h 6011862"/>
              <a:gd name="connsiteX12" fmla="*/ 4130330 w 5147304"/>
              <a:gd name="connsiteY12" fmla="*/ 5728206 h 6011862"/>
              <a:gd name="connsiteX13" fmla="*/ 4130330 w 5147304"/>
              <a:gd name="connsiteY13" fmla="*/ 5698194 h 6011862"/>
              <a:gd name="connsiteX14" fmla="*/ 4146459 w 5147304"/>
              <a:gd name="connsiteY14" fmla="*/ 5682474 h 6011862"/>
              <a:gd name="connsiteX15" fmla="*/ 4619272 w 5147304"/>
              <a:gd name="connsiteY15" fmla="*/ 5679412 h 6011862"/>
              <a:gd name="connsiteX16" fmla="*/ 4645207 w 5147304"/>
              <a:gd name="connsiteY16" fmla="*/ 5725347 h 6011862"/>
              <a:gd name="connsiteX17" fmla="*/ 4593344 w 5147304"/>
              <a:gd name="connsiteY17" fmla="*/ 5725347 h 6011862"/>
              <a:gd name="connsiteX18" fmla="*/ 4601714 w 5147304"/>
              <a:gd name="connsiteY18" fmla="*/ 5659200 h 6011862"/>
              <a:gd name="connsiteX19" fmla="*/ 4541080 w 5147304"/>
              <a:gd name="connsiteY19" fmla="*/ 5767200 h 6011862"/>
              <a:gd name="connsiteX20" fmla="*/ 4569870 w 5147304"/>
              <a:gd name="connsiteY20" fmla="*/ 5767200 h 6011862"/>
              <a:gd name="connsiteX21" fmla="*/ 4592735 w 5147304"/>
              <a:gd name="connsiteY21" fmla="*/ 5726572 h 6011862"/>
              <a:gd name="connsiteX22" fmla="*/ 4606620 w 5147304"/>
              <a:gd name="connsiteY22" fmla="*/ 5748622 h 6011862"/>
              <a:gd name="connsiteX23" fmla="*/ 4658268 w 5147304"/>
              <a:gd name="connsiteY23" fmla="*/ 5748622 h 6011862"/>
              <a:gd name="connsiteX24" fmla="*/ 4668682 w 5147304"/>
              <a:gd name="connsiteY24" fmla="*/ 5767200 h 6011862"/>
              <a:gd name="connsiteX25" fmla="*/ 4698081 w 5147304"/>
              <a:gd name="connsiteY25" fmla="*/ 5767200 h 6011862"/>
              <a:gd name="connsiteX26" fmla="*/ 4637447 w 5147304"/>
              <a:gd name="connsiteY26" fmla="*/ 5659200 h 6011862"/>
              <a:gd name="connsiteX27" fmla="*/ 4335598 w 5147304"/>
              <a:gd name="connsiteY27" fmla="*/ 5659200 h 6011862"/>
              <a:gd name="connsiteX28" fmla="*/ 4335598 w 5147304"/>
              <a:gd name="connsiteY28" fmla="*/ 5767200 h 6011862"/>
              <a:gd name="connsiteX29" fmla="*/ 4426041 w 5147304"/>
              <a:gd name="connsiteY29" fmla="*/ 5767200 h 6011862"/>
              <a:gd name="connsiteX30" fmla="*/ 4468504 w 5147304"/>
              <a:gd name="connsiteY30" fmla="*/ 5725960 h 6011862"/>
              <a:gd name="connsiteX31" fmla="*/ 4468504 w 5147304"/>
              <a:gd name="connsiteY31" fmla="*/ 5700440 h 6011862"/>
              <a:gd name="connsiteX32" fmla="*/ 4426041 w 5147304"/>
              <a:gd name="connsiteY32" fmla="*/ 5659200 h 6011862"/>
              <a:gd name="connsiteX33" fmla="*/ 4145846 w 5147304"/>
              <a:gd name="connsiteY33" fmla="*/ 5659200 h 6011862"/>
              <a:gd name="connsiteX34" fmla="*/ 4104606 w 5147304"/>
              <a:gd name="connsiteY34" fmla="*/ 5699419 h 6011862"/>
              <a:gd name="connsiteX35" fmla="*/ 4104606 w 5147304"/>
              <a:gd name="connsiteY35" fmla="*/ 5726981 h 6011862"/>
              <a:gd name="connsiteX36" fmla="*/ 4145846 w 5147304"/>
              <a:gd name="connsiteY36" fmla="*/ 5767200 h 6011862"/>
              <a:gd name="connsiteX37" fmla="*/ 4201173 w 5147304"/>
              <a:gd name="connsiteY37" fmla="*/ 5767200 h 6011862"/>
              <a:gd name="connsiteX38" fmla="*/ 4242414 w 5147304"/>
              <a:gd name="connsiteY38" fmla="*/ 5726981 h 6011862"/>
              <a:gd name="connsiteX39" fmla="*/ 4242414 w 5147304"/>
              <a:gd name="connsiteY39" fmla="*/ 5699419 h 6011862"/>
              <a:gd name="connsiteX40" fmla="*/ 4201173 w 5147304"/>
              <a:gd name="connsiteY40" fmla="*/ 5659200 h 6011862"/>
              <a:gd name="connsiteX41" fmla="*/ 3902818 w 5147304"/>
              <a:gd name="connsiteY41" fmla="*/ 5659200 h 6011862"/>
              <a:gd name="connsiteX42" fmla="*/ 3902818 w 5147304"/>
              <a:gd name="connsiteY42" fmla="*/ 5767200 h 6011862"/>
              <a:gd name="connsiteX43" fmla="*/ 3928543 w 5147304"/>
              <a:gd name="connsiteY43" fmla="*/ 5767200 h 6011862"/>
              <a:gd name="connsiteX44" fmla="*/ 3928543 w 5147304"/>
              <a:gd name="connsiteY44" fmla="*/ 5724531 h 6011862"/>
              <a:gd name="connsiteX45" fmla="*/ 3961617 w 5147304"/>
              <a:gd name="connsiteY45" fmla="*/ 5724531 h 6011862"/>
              <a:gd name="connsiteX46" fmla="*/ 4005919 w 5147304"/>
              <a:gd name="connsiteY46" fmla="*/ 5767200 h 6011862"/>
              <a:gd name="connsiteX47" fmla="*/ 4042055 w 5147304"/>
              <a:gd name="connsiteY47" fmla="*/ 5767200 h 6011862"/>
              <a:gd name="connsiteX48" fmla="*/ 3984686 w 5147304"/>
              <a:gd name="connsiteY48" fmla="*/ 5712894 h 6011862"/>
              <a:gd name="connsiteX49" fmla="*/ 4041035 w 5147304"/>
              <a:gd name="connsiteY49" fmla="*/ 5659200 h 6011862"/>
              <a:gd name="connsiteX50" fmla="*/ 4006940 w 5147304"/>
              <a:gd name="connsiteY50" fmla="*/ 5659200 h 6011862"/>
              <a:gd name="connsiteX51" fmla="*/ 3962637 w 5147304"/>
              <a:gd name="connsiteY51" fmla="*/ 5701257 h 6011862"/>
              <a:gd name="connsiteX52" fmla="*/ 3928543 w 5147304"/>
              <a:gd name="connsiteY52" fmla="*/ 5701257 h 6011862"/>
              <a:gd name="connsiteX53" fmla="*/ 3928543 w 5147304"/>
              <a:gd name="connsiteY53" fmla="*/ 5659200 h 6011862"/>
              <a:gd name="connsiteX54" fmla="*/ 3734218 w 5147304"/>
              <a:gd name="connsiteY54" fmla="*/ 5659200 h 6011862"/>
              <a:gd name="connsiteX55" fmla="*/ 3748918 w 5147304"/>
              <a:gd name="connsiteY55" fmla="*/ 5681657 h 6011862"/>
              <a:gd name="connsiteX56" fmla="*/ 3808737 w 5147304"/>
              <a:gd name="connsiteY56" fmla="*/ 5681657 h 6011862"/>
              <a:gd name="connsiteX57" fmla="*/ 3823028 w 5147304"/>
              <a:gd name="connsiteY57" fmla="*/ 5659200 h 6011862"/>
              <a:gd name="connsiteX58" fmla="*/ 3721969 w 5147304"/>
              <a:gd name="connsiteY58" fmla="*/ 5659200 h 6011862"/>
              <a:gd name="connsiteX59" fmla="*/ 3698286 w 5147304"/>
              <a:gd name="connsiteY59" fmla="*/ 5684107 h 6011862"/>
              <a:gd name="connsiteX60" fmla="*/ 3698286 w 5147304"/>
              <a:gd name="connsiteY60" fmla="*/ 5693090 h 6011862"/>
              <a:gd name="connsiteX61" fmla="*/ 3728910 w 5147304"/>
              <a:gd name="connsiteY61" fmla="*/ 5723306 h 6011862"/>
              <a:gd name="connsiteX62" fmla="*/ 3800162 w 5147304"/>
              <a:gd name="connsiteY62" fmla="*/ 5723306 h 6011862"/>
              <a:gd name="connsiteX63" fmla="*/ 3800162 w 5147304"/>
              <a:gd name="connsiteY63" fmla="*/ 5736576 h 6011862"/>
              <a:gd name="connsiteX64" fmla="*/ 3792404 w 5147304"/>
              <a:gd name="connsiteY64" fmla="*/ 5744334 h 6011862"/>
              <a:gd name="connsiteX65" fmla="*/ 3709515 w 5147304"/>
              <a:gd name="connsiteY65" fmla="*/ 5744334 h 6011862"/>
              <a:gd name="connsiteX66" fmla="*/ 3695224 w 5147304"/>
              <a:gd name="connsiteY66" fmla="*/ 5767200 h 6011862"/>
              <a:gd name="connsiteX67" fmla="*/ 3794854 w 5147304"/>
              <a:gd name="connsiteY67" fmla="*/ 5767200 h 6011862"/>
              <a:gd name="connsiteX68" fmla="*/ 3825477 w 5147304"/>
              <a:gd name="connsiteY68" fmla="*/ 5736985 h 6011862"/>
              <a:gd name="connsiteX69" fmla="*/ 3825477 w 5147304"/>
              <a:gd name="connsiteY69" fmla="*/ 5725143 h 6011862"/>
              <a:gd name="connsiteX70" fmla="*/ 3800366 w 5147304"/>
              <a:gd name="connsiteY70" fmla="*/ 5700440 h 6011862"/>
              <a:gd name="connsiteX71" fmla="*/ 3731360 w 5147304"/>
              <a:gd name="connsiteY71" fmla="*/ 5700440 h 6011862"/>
              <a:gd name="connsiteX72" fmla="*/ 3723602 w 5147304"/>
              <a:gd name="connsiteY72" fmla="*/ 5692682 h 6011862"/>
              <a:gd name="connsiteX73" fmla="*/ 3723602 w 5147304"/>
              <a:gd name="connsiteY73" fmla="*/ 5659200 h 6011862"/>
              <a:gd name="connsiteX74" fmla="*/ 1583531 w 5147304"/>
              <a:gd name="connsiteY74" fmla="*/ 0 h 6011862"/>
              <a:gd name="connsiteX75" fmla="*/ 5147304 w 5147304"/>
              <a:gd name="connsiteY75" fmla="*/ 0 h 6011862"/>
              <a:gd name="connsiteX76" fmla="*/ 5147304 w 5147304"/>
              <a:gd name="connsiteY76" fmla="*/ 6011862 h 6011862"/>
              <a:gd name="connsiteX77" fmla="*/ 0 w 5147304"/>
              <a:gd name="connsiteY77" fmla="*/ 6011862 h 60118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</a:cxnLst>
            <a:rect l="l" t="t" r="r" b="b"/>
            <a:pathLst>
              <a:path w="5147304" h="6011862">
                <a:moveTo>
                  <a:pt x="4361322" y="5682474"/>
                </a:moveTo>
                <a:lnTo>
                  <a:pt x="4425429" y="5682474"/>
                </a:lnTo>
                <a:cubicBezTo>
                  <a:pt x="4436045" y="5682474"/>
                  <a:pt x="4442782" y="5689007"/>
                  <a:pt x="4442782" y="5699215"/>
                </a:cubicBezTo>
                <a:lnTo>
                  <a:pt x="4442782" y="5727185"/>
                </a:lnTo>
                <a:cubicBezTo>
                  <a:pt x="4442782" y="5737393"/>
                  <a:pt x="4436045" y="5743926"/>
                  <a:pt x="4425429" y="5743926"/>
                </a:cubicBezTo>
                <a:lnTo>
                  <a:pt x="4361322" y="5743926"/>
                </a:lnTo>
                <a:close/>
                <a:moveTo>
                  <a:pt x="4146459" y="5682474"/>
                </a:moveTo>
                <a:lnTo>
                  <a:pt x="4200561" y="5682474"/>
                </a:lnTo>
                <a:cubicBezTo>
                  <a:pt x="4210360" y="5682474"/>
                  <a:pt x="4216690" y="5688599"/>
                  <a:pt x="4216690" y="5698194"/>
                </a:cubicBezTo>
                <a:lnTo>
                  <a:pt x="4216690" y="5728206"/>
                </a:lnTo>
                <a:cubicBezTo>
                  <a:pt x="4216690" y="5737801"/>
                  <a:pt x="4210361" y="5743926"/>
                  <a:pt x="4200561" y="5743926"/>
                </a:cubicBezTo>
                <a:lnTo>
                  <a:pt x="4146459" y="5743926"/>
                </a:lnTo>
                <a:cubicBezTo>
                  <a:pt x="4136659" y="5743926"/>
                  <a:pt x="4130330" y="5737801"/>
                  <a:pt x="4130330" y="5728206"/>
                </a:cubicBezTo>
                <a:lnTo>
                  <a:pt x="4130330" y="5698194"/>
                </a:lnTo>
                <a:cubicBezTo>
                  <a:pt x="4130330" y="5688599"/>
                  <a:pt x="4136659" y="5682474"/>
                  <a:pt x="4146459" y="5682474"/>
                </a:cubicBezTo>
                <a:close/>
                <a:moveTo>
                  <a:pt x="4619272" y="5679412"/>
                </a:moveTo>
                <a:lnTo>
                  <a:pt x="4645207" y="5725347"/>
                </a:lnTo>
                <a:lnTo>
                  <a:pt x="4593344" y="5725347"/>
                </a:lnTo>
                <a:close/>
                <a:moveTo>
                  <a:pt x="4601714" y="5659200"/>
                </a:moveTo>
                <a:lnTo>
                  <a:pt x="4541080" y="5767200"/>
                </a:lnTo>
                <a:lnTo>
                  <a:pt x="4569870" y="5767200"/>
                </a:lnTo>
                <a:lnTo>
                  <a:pt x="4592735" y="5726572"/>
                </a:lnTo>
                <a:lnTo>
                  <a:pt x="4606620" y="5748622"/>
                </a:lnTo>
                <a:lnTo>
                  <a:pt x="4658268" y="5748622"/>
                </a:lnTo>
                <a:lnTo>
                  <a:pt x="4668682" y="5767200"/>
                </a:lnTo>
                <a:lnTo>
                  <a:pt x="4698081" y="5767200"/>
                </a:lnTo>
                <a:lnTo>
                  <a:pt x="4637447" y="5659200"/>
                </a:lnTo>
                <a:close/>
                <a:moveTo>
                  <a:pt x="4335598" y="5659200"/>
                </a:moveTo>
                <a:lnTo>
                  <a:pt x="4335598" y="5767200"/>
                </a:lnTo>
                <a:lnTo>
                  <a:pt x="4426041" y="5767200"/>
                </a:lnTo>
                <a:cubicBezTo>
                  <a:pt x="4452990" y="5767200"/>
                  <a:pt x="4468504" y="5751684"/>
                  <a:pt x="4468504" y="5725960"/>
                </a:cubicBezTo>
                <a:lnTo>
                  <a:pt x="4468504" y="5700440"/>
                </a:lnTo>
                <a:cubicBezTo>
                  <a:pt x="4468504" y="5674716"/>
                  <a:pt x="4452990" y="5659200"/>
                  <a:pt x="4426041" y="5659200"/>
                </a:cubicBezTo>
                <a:close/>
                <a:moveTo>
                  <a:pt x="4145846" y="5659200"/>
                </a:moveTo>
                <a:cubicBezTo>
                  <a:pt x="4119713" y="5659200"/>
                  <a:pt x="4104606" y="5674308"/>
                  <a:pt x="4104606" y="5699419"/>
                </a:cubicBezTo>
                <a:lnTo>
                  <a:pt x="4104606" y="5726981"/>
                </a:lnTo>
                <a:cubicBezTo>
                  <a:pt x="4104606" y="5752092"/>
                  <a:pt x="4119713" y="5767200"/>
                  <a:pt x="4145846" y="5767200"/>
                </a:cubicBezTo>
                <a:lnTo>
                  <a:pt x="4201173" y="5767200"/>
                </a:lnTo>
                <a:cubicBezTo>
                  <a:pt x="4227305" y="5767200"/>
                  <a:pt x="4242414" y="5752092"/>
                  <a:pt x="4242414" y="5726981"/>
                </a:cubicBezTo>
                <a:lnTo>
                  <a:pt x="4242414" y="5699419"/>
                </a:lnTo>
                <a:cubicBezTo>
                  <a:pt x="4242414" y="5674308"/>
                  <a:pt x="4227306" y="5659200"/>
                  <a:pt x="4201173" y="5659200"/>
                </a:cubicBezTo>
                <a:close/>
                <a:moveTo>
                  <a:pt x="3902818" y="5659200"/>
                </a:moveTo>
                <a:lnTo>
                  <a:pt x="3902818" y="5767200"/>
                </a:lnTo>
                <a:lnTo>
                  <a:pt x="3928543" y="5767200"/>
                </a:lnTo>
                <a:lnTo>
                  <a:pt x="3928543" y="5724531"/>
                </a:lnTo>
                <a:lnTo>
                  <a:pt x="3961617" y="5724531"/>
                </a:lnTo>
                <a:lnTo>
                  <a:pt x="4005919" y="5767200"/>
                </a:lnTo>
                <a:lnTo>
                  <a:pt x="4042055" y="5767200"/>
                </a:lnTo>
                <a:lnTo>
                  <a:pt x="3984686" y="5712894"/>
                </a:lnTo>
                <a:lnTo>
                  <a:pt x="4041035" y="5659200"/>
                </a:lnTo>
                <a:lnTo>
                  <a:pt x="4006940" y="5659200"/>
                </a:lnTo>
                <a:lnTo>
                  <a:pt x="3962637" y="5701257"/>
                </a:lnTo>
                <a:lnTo>
                  <a:pt x="3928543" y="5701257"/>
                </a:lnTo>
                <a:lnTo>
                  <a:pt x="3928543" y="5659200"/>
                </a:lnTo>
                <a:close/>
                <a:moveTo>
                  <a:pt x="3734218" y="5659200"/>
                </a:moveTo>
                <a:lnTo>
                  <a:pt x="3748918" y="5681657"/>
                </a:lnTo>
                <a:lnTo>
                  <a:pt x="3808737" y="5681657"/>
                </a:lnTo>
                <a:lnTo>
                  <a:pt x="3823028" y="5659200"/>
                </a:lnTo>
                <a:close/>
                <a:moveTo>
                  <a:pt x="3721969" y="5659200"/>
                </a:moveTo>
                <a:cubicBezTo>
                  <a:pt x="3707474" y="5659200"/>
                  <a:pt x="3698286" y="5668591"/>
                  <a:pt x="3698286" y="5684107"/>
                </a:cubicBezTo>
                <a:lnTo>
                  <a:pt x="3698286" y="5693090"/>
                </a:lnTo>
                <a:cubicBezTo>
                  <a:pt x="3698286" y="5713915"/>
                  <a:pt x="3707678" y="5723306"/>
                  <a:pt x="3728910" y="5723306"/>
                </a:cubicBezTo>
                <a:lnTo>
                  <a:pt x="3800162" y="5723306"/>
                </a:lnTo>
                <a:lnTo>
                  <a:pt x="3800162" y="5736576"/>
                </a:lnTo>
                <a:cubicBezTo>
                  <a:pt x="3800162" y="5741272"/>
                  <a:pt x="3797100" y="5744334"/>
                  <a:pt x="3792404" y="5744334"/>
                </a:cubicBezTo>
                <a:lnTo>
                  <a:pt x="3709515" y="5744334"/>
                </a:lnTo>
                <a:lnTo>
                  <a:pt x="3695224" y="5767200"/>
                </a:lnTo>
                <a:lnTo>
                  <a:pt x="3794854" y="5767200"/>
                </a:lnTo>
                <a:cubicBezTo>
                  <a:pt x="3815474" y="5767200"/>
                  <a:pt x="3825477" y="5757196"/>
                  <a:pt x="3825477" y="5736985"/>
                </a:cubicBezTo>
                <a:lnTo>
                  <a:pt x="3825477" y="5725143"/>
                </a:lnTo>
                <a:cubicBezTo>
                  <a:pt x="3825477" y="5709831"/>
                  <a:pt x="3816086" y="5700440"/>
                  <a:pt x="3800366" y="5700440"/>
                </a:cubicBezTo>
                <a:lnTo>
                  <a:pt x="3731360" y="5700440"/>
                </a:lnTo>
                <a:cubicBezTo>
                  <a:pt x="3726665" y="5700440"/>
                  <a:pt x="3723602" y="5697378"/>
                  <a:pt x="3723602" y="5692682"/>
                </a:cubicBezTo>
                <a:lnTo>
                  <a:pt x="3723602" y="5659200"/>
                </a:lnTo>
                <a:close/>
                <a:moveTo>
                  <a:pt x="1583531" y="0"/>
                </a:moveTo>
                <a:lnTo>
                  <a:pt x="5147304" y="0"/>
                </a:lnTo>
                <a:lnTo>
                  <a:pt x="5147304" y="6011862"/>
                </a:lnTo>
                <a:lnTo>
                  <a:pt x="0" y="6011862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algn="ctr">
              <a:buFontTx/>
              <a:buNone/>
              <a:defRPr>
                <a:solidFill>
                  <a:schemeClr val="accent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Obrázek</a:t>
            </a:r>
          </a:p>
        </p:txBody>
      </p: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264"/>
          <a:ext cx="1587" cy="12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9" imgH="398" progId="TCLayout.ActiveDocument.1">
                  <p:embed/>
                </p:oleObj>
              </mc:Choice>
              <mc:Fallback>
                <p:oleObj name="think-cell Slide" r:id="rId5" imgW="399" imgH="398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264"/>
                        <a:ext cx="1587" cy="12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 userDrawn="1">
            <p:ph type="title" hasCustomPrompt="1"/>
          </p:nvPr>
        </p:nvSpPr>
        <p:spPr>
          <a:xfrm>
            <a:off x="449263" y="1314450"/>
            <a:ext cx="4968875" cy="2520000"/>
          </a:xfrm>
        </p:spPr>
        <p:txBody>
          <a:bodyPr anchor="t" anchorCtr="0">
            <a:normAutofit/>
          </a:bodyPr>
          <a:lstStyle>
            <a:lvl1pPr>
              <a:lnSpc>
                <a:spcPts val="4000"/>
              </a:lnSpc>
              <a:defRPr sz="4000" b="0" cap="none" baseline="0">
                <a:solidFill>
                  <a:schemeClr val="accent1"/>
                </a:solidFill>
                <a:latin typeface="SKODA Next Light" panose="020B0304020603020204" pitchFamily="34" charset="0"/>
              </a:defRPr>
            </a:lvl1pPr>
          </a:lstStyle>
          <a:p>
            <a:r>
              <a:rPr lang="cs-CZ" noProof="0"/>
              <a:t>Citát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A95BF692-E6D8-7522-3939-8E0A92A62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46000" y="5598000"/>
            <a:ext cx="7289813" cy="18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S15 | 08.06.2023 | Future city tech | VTO | Miroslav Holan</a:t>
            </a:r>
            <a:endParaRPr lang="cs-CZ" noProof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63C25813-455F-091C-F4E2-B3972C902DC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4D773F9-8A50-B2D5-3B6A-3C8C10261F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4014000"/>
            <a:ext cx="4968000" cy="1332000"/>
          </a:xfrm>
        </p:spPr>
        <p:txBody>
          <a:bodyPr vert="horz" lIns="0" tIns="0" rIns="0" bIns="0" rtlCol="0" anchor="t" anchorCtr="0">
            <a:normAutofit/>
          </a:bodyPr>
          <a:lstStyle>
            <a:lvl1pPr marL="0" indent="0">
              <a:buNone/>
              <a:defRPr lang="en-US" b="0" cap="none" baseline="0" dirty="0" smtClean="0">
                <a:solidFill>
                  <a:schemeClr val="accent1"/>
                </a:solidFill>
              </a:defRPr>
            </a:lvl1pPr>
            <a:lvl2pPr>
              <a:defRPr lang="en-US" sz="2100" dirty="0" smtClean="0">
                <a:latin typeface="+mn-lt"/>
                <a:ea typeface="+mn-ea"/>
                <a:cs typeface="+mn-cs"/>
              </a:defRPr>
            </a:lvl2pPr>
            <a:lvl3pPr>
              <a:defRPr lang="en-US" sz="2100" dirty="0" smtClean="0">
                <a:latin typeface="+mn-lt"/>
                <a:ea typeface="+mn-ea"/>
                <a:cs typeface="+mn-cs"/>
              </a:defRPr>
            </a:lvl3pPr>
            <a:lvl4pPr>
              <a:defRPr lang="en-US" sz="2100" dirty="0" smtClean="0">
                <a:latin typeface="+mn-lt"/>
                <a:ea typeface="+mn-ea"/>
                <a:cs typeface="+mn-cs"/>
              </a:defRPr>
            </a:lvl4pPr>
            <a:lvl5pPr marL="1905487" indent="0">
              <a:buNone/>
              <a:defRPr lang="en-GB" sz="2100" dirty="0">
                <a:latin typeface="+mn-lt"/>
                <a:ea typeface="+mn-ea"/>
                <a:cs typeface="+mn-cs"/>
              </a:defRPr>
            </a:lvl5pPr>
          </a:lstStyle>
          <a:p>
            <a:pPr marL="105750" lvl="0" indent="-285750">
              <a:lnSpc>
                <a:spcPts val="1600"/>
              </a:lnSpc>
              <a:spcBef>
                <a:spcPct val="0"/>
              </a:spcBef>
            </a:pPr>
            <a:r>
              <a:rPr lang="cs-CZ" noProof="0"/>
              <a:t>Škoda Auto</a:t>
            </a:r>
          </a:p>
        </p:txBody>
      </p:sp>
    </p:spTree>
    <p:extLst>
      <p:ext uri="{BB962C8B-B14F-4D97-AF65-F5344CB8AC3E}">
        <p14:creationId xmlns:p14="http://schemas.microsoft.com/office/powerpoint/2010/main" val="341021887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pro číslo snímku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7" name="Zástupný symbol pro zápatí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en-US" noProof="0"/>
              <a:t>S15 | 08.06.2023 | Future city tech | VTO | Miroslav Holan</a:t>
            </a:r>
            <a:endParaRPr lang="cs-CZ" noProof="0"/>
          </a:p>
        </p:txBody>
      </p:sp>
      <p:sp>
        <p:nvSpPr>
          <p:cNvPr id="10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648000"/>
            <a:ext cx="9793288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/>
              <a:t>Podnadpis</a:t>
            </a:r>
          </a:p>
        </p:txBody>
      </p:sp>
      <p:sp>
        <p:nvSpPr>
          <p:cNvPr id="3" name="Nadpis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cs-CZ" noProof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192585698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Emera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5CB9963D-4194-84A4-A5CA-461A720BDD8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39693" y="5659592"/>
            <a:ext cx="1002857" cy="108000"/>
          </a:xfrm>
          <a:prstGeom prst="rect">
            <a:avLst/>
          </a:prstGeom>
        </p:spPr>
      </p:pic>
      <p:sp>
        <p:nvSpPr>
          <p:cNvPr id="6" name="Zástupný symbol pro číslo snímku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7" name="Zástupný symbol pro zápatí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en-US" noProof="0"/>
              <a:t>S15 | 08.06.2023 | Future city tech | VTO | Miroslav Holan</a:t>
            </a:r>
            <a:endParaRPr lang="cs-CZ" noProof="0"/>
          </a:p>
        </p:txBody>
      </p:sp>
      <p:sp>
        <p:nvSpPr>
          <p:cNvPr id="10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648000"/>
            <a:ext cx="9793288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cs-CZ" noProof="0"/>
              <a:t>Podnadpis</a:t>
            </a:r>
          </a:p>
        </p:txBody>
      </p:sp>
      <p:sp>
        <p:nvSpPr>
          <p:cNvPr id="3" name="Nadpis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cs-CZ" noProof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314789244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Electr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AF0FA753-08B2-8DDC-C26C-07D66B05879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39693" y="5659592"/>
            <a:ext cx="1002857" cy="108000"/>
          </a:xfrm>
          <a:prstGeom prst="rect">
            <a:avLst/>
          </a:prstGeom>
        </p:spPr>
      </p:pic>
      <p:sp>
        <p:nvSpPr>
          <p:cNvPr id="6" name="Zástupný symbol pro číslo snímku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7" name="Zástupný symbol pro zápatí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en-US" noProof="0"/>
              <a:t>S15 | 08.06.2023 | Future city tech | VTO | Miroslav Holan</a:t>
            </a:r>
            <a:endParaRPr lang="cs-CZ" noProof="0"/>
          </a:p>
        </p:txBody>
      </p:sp>
      <p:sp>
        <p:nvSpPr>
          <p:cNvPr id="10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648000"/>
            <a:ext cx="9793288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cs-CZ" noProof="0"/>
              <a:t>Podnadpis</a:t>
            </a:r>
          </a:p>
        </p:txBody>
      </p:sp>
      <p:sp>
        <p:nvSpPr>
          <p:cNvPr id="3" name="Nadpis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cs-CZ" noProof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306255412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pro číslo snímku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7" name="Zástupný symbol pro zápatí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en-US" noProof="0"/>
              <a:t>S15 | 08.06.2023 | Future city tech | VTO | Miroslav Holan</a:t>
            </a:r>
            <a:endParaRPr lang="cs-CZ" noProof="0"/>
          </a:p>
        </p:txBody>
      </p:sp>
      <p:sp>
        <p:nvSpPr>
          <p:cNvPr id="10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648000"/>
            <a:ext cx="9793288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cs-CZ" noProof="0"/>
              <a:t>Podnadpis</a:t>
            </a:r>
          </a:p>
        </p:txBody>
      </p:sp>
      <p:sp>
        <p:nvSpPr>
          <p:cNvPr id="3" name="Nadpis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cs-CZ" noProof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312085101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pro číslo snímku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7" name="Zástupný symbol pro zápatí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en-US" noProof="0"/>
              <a:t>S15 | 08.06.2023 | Future city tech | VTO | Miroslav Holan</a:t>
            </a:r>
            <a:endParaRPr lang="cs-CZ" noProof="0"/>
          </a:p>
        </p:txBody>
      </p:sp>
      <p:sp>
        <p:nvSpPr>
          <p:cNvPr id="10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648000"/>
            <a:ext cx="9793288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cs-CZ" noProof="0"/>
              <a:t>Podnadpis</a:t>
            </a:r>
          </a:p>
        </p:txBody>
      </p:sp>
      <p:sp>
        <p:nvSpPr>
          <p:cNvPr id="3" name="Nadpis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cs-CZ" noProof="0"/>
              <a:t>Nadpis (shrnutí stránky)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AD94FAF8-685A-D0A8-0EA2-2B3C8F7BC9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39693" y="5659592"/>
            <a:ext cx="1002857" cy="10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156962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BFF7A7E-2F88-BCC5-C055-008483D90682}"/>
              </a:ext>
            </a:extLst>
          </p:cNvPr>
          <p:cNvSpPr/>
          <p:nvPr userDrawn="1"/>
        </p:nvSpPr>
        <p:spPr>
          <a:xfrm>
            <a:off x="0" y="0"/>
            <a:ext cx="5220000" cy="1404000"/>
          </a:xfrm>
          <a:custGeom>
            <a:avLst/>
            <a:gdLst>
              <a:gd name="connsiteX0" fmla="*/ 0 w 5220000"/>
              <a:gd name="connsiteY0" fmla="*/ 0 h 1404000"/>
              <a:gd name="connsiteX1" fmla="*/ 5220000 w 5220000"/>
              <a:gd name="connsiteY1" fmla="*/ 0 h 1404000"/>
              <a:gd name="connsiteX2" fmla="*/ 5220000 w 5220000"/>
              <a:gd name="connsiteY2" fmla="*/ 1404000 h 1404000"/>
              <a:gd name="connsiteX3" fmla="*/ 0 w 5220000"/>
              <a:gd name="connsiteY3" fmla="*/ 1404000 h 1404000"/>
              <a:gd name="connsiteX4" fmla="*/ 0 w 5220000"/>
              <a:gd name="connsiteY4" fmla="*/ 0 h 1404000"/>
              <a:gd name="connsiteX0" fmla="*/ 0 w 5220000"/>
              <a:gd name="connsiteY0" fmla="*/ 0 h 1404000"/>
              <a:gd name="connsiteX1" fmla="*/ 5220000 w 5220000"/>
              <a:gd name="connsiteY1" fmla="*/ 0 h 1404000"/>
              <a:gd name="connsiteX2" fmla="*/ 5220000 w 5220000"/>
              <a:gd name="connsiteY2" fmla="*/ 1404000 h 1404000"/>
              <a:gd name="connsiteX3" fmla="*/ 0 w 5220000"/>
              <a:gd name="connsiteY3" fmla="*/ 1404000 h 1404000"/>
              <a:gd name="connsiteX4" fmla="*/ 0 w 5220000"/>
              <a:gd name="connsiteY4" fmla="*/ 0 h 1404000"/>
              <a:gd name="connsiteX0" fmla="*/ 0 w 5220000"/>
              <a:gd name="connsiteY0" fmla="*/ 0 h 1404000"/>
              <a:gd name="connsiteX1" fmla="*/ 5220000 w 5220000"/>
              <a:gd name="connsiteY1" fmla="*/ 0 h 1404000"/>
              <a:gd name="connsiteX2" fmla="*/ 0 w 5220000"/>
              <a:gd name="connsiteY2" fmla="*/ 1404000 h 1404000"/>
              <a:gd name="connsiteX3" fmla="*/ 0 w 5220000"/>
              <a:gd name="connsiteY3" fmla="*/ 0 h 140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20000" h="1404000">
                <a:moveTo>
                  <a:pt x="0" y="0"/>
                </a:moveTo>
                <a:lnTo>
                  <a:pt x="5220000" y="0"/>
                </a:lnTo>
                <a:lnTo>
                  <a:pt x="0" y="1404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noProof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CBDC93D-8677-8F98-0413-5586CAD9ECEE}"/>
              </a:ext>
            </a:extLst>
          </p:cNvPr>
          <p:cNvSpPr/>
          <p:nvPr userDrawn="1"/>
        </p:nvSpPr>
        <p:spPr>
          <a:xfrm>
            <a:off x="8136000" y="0"/>
            <a:ext cx="2556000" cy="6011863"/>
          </a:xfrm>
          <a:custGeom>
            <a:avLst/>
            <a:gdLst>
              <a:gd name="connsiteX0" fmla="*/ 0 w 2556000"/>
              <a:gd name="connsiteY0" fmla="*/ 0 h 6011863"/>
              <a:gd name="connsiteX1" fmla="*/ 2556000 w 2556000"/>
              <a:gd name="connsiteY1" fmla="*/ 0 h 6011863"/>
              <a:gd name="connsiteX2" fmla="*/ 2556000 w 2556000"/>
              <a:gd name="connsiteY2" fmla="*/ 6011863 h 6011863"/>
              <a:gd name="connsiteX3" fmla="*/ 0 w 2556000"/>
              <a:gd name="connsiteY3" fmla="*/ 6011863 h 6011863"/>
              <a:gd name="connsiteX4" fmla="*/ 0 w 2556000"/>
              <a:gd name="connsiteY4" fmla="*/ 0 h 6011863"/>
              <a:gd name="connsiteX0" fmla="*/ 1600200 w 2556000"/>
              <a:gd name="connsiteY0" fmla="*/ 0 h 6011863"/>
              <a:gd name="connsiteX1" fmla="*/ 2556000 w 2556000"/>
              <a:gd name="connsiteY1" fmla="*/ 0 h 6011863"/>
              <a:gd name="connsiteX2" fmla="*/ 2556000 w 2556000"/>
              <a:gd name="connsiteY2" fmla="*/ 6011863 h 6011863"/>
              <a:gd name="connsiteX3" fmla="*/ 0 w 2556000"/>
              <a:gd name="connsiteY3" fmla="*/ 6011863 h 6011863"/>
              <a:gd name="connsiteX4" fmla="*/ 1600200 w 2556000"/>
              <a:gd name="connsiteY4" fmla="*/ 0 h 6011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56000" h="6011863">
                <a:moveTo>
                  <a:pt x="1600200" y="0"/>
                </a:moveTo>
                <a:lnTo>
                  <a:pt x="2556000" y="0"/>
                </a:lnTo>
                <a:lnTo>
                  <a:pt x="2556000" y="6011863"/>
                </a:lnTo>
                <a:lnTo>
                  <a:pt x="0" y="6011863"/>
                </a:lnTo>
                <a:lnTo>
                  <a:pt x="1600200" y="0"/>
                </a:lnTo>
                <a:close/>
              </a:path>
            </a:pathLst>
          </a:cu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noProof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621EEB25-02FD-89D3-1BD1-8F48F076C97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571122" y="5556311"/>
            <a:ext cx="1671428" cy="180000"/>
          </a:xfrm>
          <a:prstGeom prst="rect">
            <a:avLst/>
          </a:prstGeom>
        </p:spPr>
      </p:pic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264"/>
          <a:ext cx="1587" cy="12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9" imgH="398" progId="TCLayout.ActiveDocument.1">
                  <p:embed/>
                </p:oleObj>
              </mc:Choice>
              <mc:Fallback>
                <p:oleObj name="think-cell Slide" r:id="rId5" imgW="399" imgH="398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264"/>
                        <a:ext cx="1587" cy="12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 userDrawn="1">
            <p:ph type="title" hasCustomPrompt="1"/>
          </p:nvPr>
        </p:nvSpPr>
        <p:spPr>
          <a:xfrm>
            <a:off x="449263" y="1314450"/>
            <a:ext cx="7686550" cy="4032250"/>
          </a:xfrm>
        </p:spPr>
        <p:txBody>
          <a:bodyPr anchor="b" anchorCtr="0">
            <a:noAutofit/>
          </a:bodyPr>
          <a:lstStyle>
            <a:lvl1pPr>
              <a:lnSpc>
                <a:spcPts val="6000"/>
              </a:lnSpc>
              <a:defRPr sz="6000" b="0" cap="none" baseline="0">
                <a:solidFill>
                  <a:schemeClr val="accent1"/>
                </a:solidFill>
                <a:latin typeface="SKODA Next Light" panose="020B0304020603020204" pitchFamily="34" charset="0"/>
              </a:defRPr>
            </a:lvl1pPr>
          </a:lstStyle>
          <a:p>
            <a:r>
              <a:rPr lang="cs-CZ" noProof="0"/>
              <a:t>Název</a:t>
            </a:r>
            <a:br>
              <a:rPr lang="cs-CZ" noProof="0"/>
            </a:br>
            <a:r>
              <a:rPr lang="cs-CZ" noProof="0"/>
              <a:t>prezentace</a:t>
            </a:r>
          </a:p>
        </p:txBody>
      </p:sp>
      <p:sp>
        <p:nvSpPr>
          <p:cNvPr id="16" name="Zástupný symbol pro číslo snímku 5"/>
          <p:cNvSpPr>
            <a:spLocks noGrp="1"/>
          </p:cNvSpPr>
          <p:nvPr userDrawn="1">
            <p:ph type="sldNum" sz="quarter" idx="10"/>
          </p:nvPr>
        </p:nvSpPr>
        <p:spPr>
          <a:xfrm>
            <a:off x="449263" y="5776670"/>
            <a:ext cx="269960" cy="180000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22" name="Zástupný symbol pro zápatí 6"/>
          <p:cNvSpPr>
            <a:spLocks noGrp="1"/>
          </p:cNvSpPr>
          <p:nvPr userDrawn="1">
            <p:ph type="ftr" sz="quarter" idx="11"/>
          </p:nvPr>
        </p:nvSpPr>
        <p:spPr>
          <a:xfrm>
            <a:off x="449262" y="5598000"/>
            <a:ext cx="7686737" cy="180000"/>
          </a:xfrm>
          <a:noFill/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1200" b="0" smtClean="0">
                <a:solidFill>
                  <a:schemeClr val="accent1"/>
                </a:solidFill>
                <a:effectLst/>
                <a:latin typeface="SKODA Next Light" panose="020B0304020603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noProof="0"/>
              <a:t>S15 | 08.06.2023 | Future city tech | VTO | Miroslav Holan</a:t>
            </a:r>
            <a:endParaRPr lang="cs-CZ" noProof="0"/>
          </a:p>
        </p:txBody>
      </p:sp>
    </p:spTree>
    <p:extLst>
      <p:ext uri="{BB962C8B-B14F-4D97-AF65-F5344CB8AC3E}">
        <p14:creationId xmlns:p14="http://schemas.microsoft.com/office/powerpoint/2010/main" val="52653235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4877CB86-63EE-5524-5FB8-600E3F90AAAF}"/>
              </a:ext>
            </a:extLst>
          </p:cNvPr>
          <p:cNvSpPr/>
          <p:nvPr userDrawn="1"/>
        </p:nvSpPr>
        <p:spPr>
          <a:xfrm>
            <a:off x="0" y="0"/>
            <a:ext cx="6228000" cy="6011863"/>
          </a:xfrm>
          <a:custGeom>
            <a:avLst/>
            <a:gdLst>
              <a:gd name="connsiteX0" fmla="*/ 0 w 6228000"/>
              <a:gd name="connsiteY0" fmla="*/ 0 h 6011863"/>
              <a:gd name="connsiteX1" fmla="*/ 6228000 w 6228000"/>
              <a:gd name="connsiteY1" fmla="*/ 0 h 6011863"/>
              <a:gd name="connsiteX2" fmla="*/ 6228000 w 6228000"/>
              <a:gd name="connsiteY2" fmla="*/ 6011863 h 6011863"/>
              <a:gd name="connsiteX3" fmla="*/ 0 w 6228000"/>
              <a:gd name="connsiteY3" fmla="*/ 6011863 h 6011863"/>
              <a:gd name="connsiteX4" fmla="*/ 0 w 6228000"/>
              <a:gd name="connsiteY4" fmla="*/ 0 h 6011863"/>
              <a:gd name="connsiteX0" fmla="*/ 0 w 6228000"/>
              <a:gd name="connsiteY0" fmla="*/ 0 h 6011863"/>
              <a:gd name="connsiteX1" fmla="*/ 6228000 w 6228000"/>
              <a:gd name="connsiteY1" fmla="*/ 0 h 6011863"/>
              <a:gd name="connsiteX2" fmla="*/ 4608750 w 6228000"/>
              <a:gd name="connsiteY2" fmla="*/ 6011863 h 6011863"/>
              <a:gd name="connsiteX3" fmla="*/ 0 w 6228000"/>
              <a:gd name="connsiteY3" fmla="*/ 6011863 h 6011863"/>
              <a:gd name="connsiteX4" fmla="*/ 0 w 6228000"/>
              <a:gd name="connsiteY4" fmla="*/ 0 h 6011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28000" h="6011863">
                <a:moveTo>
                  <a:pt x="0" y="0"/>
                </a:moveTo>
                <a:lnTo>
                  <a:pt x="6228000" y="0"/>
                </a:lnTo>
                <a:lnTo>
                  <a:pt x="4608750" y="6011863"/>
                </a:lnTo>
                <a:lnTo>
                  <a:pt x="0" y="601186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noProof="0"/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75261AE5-0C5F-B1E3-2914-16679B5E7F82}"/>
              </a:ext>
            </a:extLst>
          </p:cNvPr>
          <p:cNvSpPr/>
          <p:nvPr userDrawn="1"/>
        </p:nvSpPr>
        <p:spPr>
          <a:xfrm>
            <a:off x="6803813" y="4247863"/>
            <a:ext cx="3888000" cy="1764000"/>
          </a:xfrm>
          <a:custGeom>
            <a:avLst/>
            <a:gdLst>
              <a:gd name="connsiteX0" fmla="*/ 0 w 3888000"/>
              <a:gd name="connsiteY0" fmla="*/ 0 h 1764000"/>
              <a:gd name="connsiteX1" fmla="*/ 3888000 w 3888000"/>
              <a:gd name="connsiteY1" fmla="*/ 0 h 1764000"/>
              <a:gd name="connsiteX2" fmla="*/ 3888000 w 3888000"/>
              <a:gd name="connsiteY2" fmla="*/ 1764000 h 1764000"/>
              <a:gd name="connsiteX3" fmla="*/ 0 w 3888000"/>
              <a:gd name="connsiteY3" fmla="*/ 1764000 h 1764000"/>
              <a:gd name="connsiteX4" fmla="*/ 0 w 3888000"/>
              <a:gd name="connsiteY4" fmla="*/ 0 h 1764000"/>
              <a:gd name="connsiteX0" fmla="*/ 0 w 3888000"/>
              <a:gd name="connsiteY0" fmla="*/ 0 h 1764000"/>
              <a:gd name="connsiteX1" fmla="*/ 3888000 w 3888000"/>
              <a:gd name="connsiteY1" fmla="*/ 0 h 1764000"/>
              <a:gd name="connsiteX2" fmla="*/ 3888000 w 3888000"/>
              <a:gd name="connsiteY2" fmla="*/ 1764000 h 1764000"/>
              <a:gd name="connsiteX3" fmla="*/ 0 w 3888000"/>
              <a:gd name="connsiteY3" fmla="*/ 1764000 h 1764000"/>
              <a:gd name="connsiteX4" fmla="*/ 0 w 3888000"/>
              <a:gd name="connsiteY4" fmla="*/ 0 h 1764000"/>
              <a:gd name="connsiteX0" fmla="*/ 0 w 3888000"/>
              <a:gd name="connsiteY0" fmla="*/ 0 h 1764000"/>
              <a:gd name="connsiteX1" fmla="*/ 3888000 w 3888000"/>
              <a:gd name="connsiteY1" fmla="*/ 0 h 1764000"/>
              <a:gd name="connsiteX2" fmla="*/ 3888000 w 3888000"/>
              <a:gd name="connsiteY2" fmla="*/ 1764000 h 1764000"/>
              <a:gd name="connsiteX3" fmla="*/ 0 w 3888000"/>
              <a:gd name="connsiteY3" fmla="*/ 1764000 h 1764000"/>
              <a:gd name="connsiteX4" fmla="*/ 0 w 3888000"/>
              <a:gd name="connsiteY4" fmla="*/ 0 h 1764000"/>
              <a:gd name="connsiteX0" fmla="*/ 0 w 3888000"/>
              <a:gd name="connsiteY0" fmla="*/ 0 h 1764000"/>
              <a:gd name="connsiteX1" fmla="*/ 3888000 w 3888000"/>
              <a:gd name="connsiteY1" fmla="*/ 0 h 1764000"/>
              <a:gd name="connsiteX2" fmla="*/ 3888000 w 3888000"/>
              <a:gd name="connsiteY2" fmla="*/ 1764000 h 1764000"/>
              <a:gd name="connsiteX3" fmla="*/ 0 w 3888000"/>
              <a:gd name="connsiteY3" fmla="*/ 1764000 h 1764000"/>
              <a:gd name="connsiteX4" fmla="*/ 0 w 3888000"/>
              <a:gd name="connsiteY4" fmla="*/ 0 h 1764000"/>
              <a:gd name="connsiteX0" fmla="*/ 0 w 3888000"/>
              <a:gd name="connsiteY0" fmla="*/ 1764000 h 1764000"/>
              <a:gd name="connsiteX1" fmla="*/ 3888000 w 3888000"/>
              <a:gd name="connsiteY1" fmla="*/ 0 h 1764000"/>
              <a:gd name="connsiteX2" fmla="*/ 3888000 w 3888000"/>
              <a:gd name="connsiteY2" fmla="*/ 1764000 h 1764000"/>
              <a:gd name="connsiteX3" fmla="*/ 0 w 3888000"/>
              <a:gd name="connsiteY3" fmla="*/ 1764000 h 176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88000" h="1764000">
                <a:moveTo>
                  <a:pt x="0" y="1764000"/>
                </a:moveTo>
                <a:lnTo>
                  <a:pt x="3888000" y="0"/>
                </a:lnTo>
                <a:lnTo>
                  <a:pt x="3888000" y="1764000"/>
                </a:lnTo>
                <a:lnTo>
                  <a:pt x="0" y="1764000"/>
                </a:lnTo>
                <a:close/>
              </a:path>
            </a:pathLst>
          </a:cu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noProof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2D0ACEC7-B8BE-6CF6-F447-BD72724DF43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601394" y="0"/>
            <a:ext cx="6090650" cy="6011863"/>
          </a:xfrm>
          <a:custGeom>
            <a:avLst/>
            <a:gdLst>
              <a:gd name="connsiteX0" fmla="*/ 1634355 w 6100763"/>
              <a:gd name="connsiteY0" fmla="*/ 0 h 6011863"/>
              <a:gd name="connsiteX1" fmla="*/ 6100763 w 6100763"/>
              <a:gd name="connsiteY1" fmla="*/ 0 h 6011863"/>
              <a:gd name="connsiteX2" fmla="*/ 6100763 w 6100763"/>
              <a:gd name="connsiteY2" fmla="*/ 4252625 h 6011863"/>
              <a:gd name="connsiteX3" fmla="*/ 2215144 w 6100763"/>
              <a:gd name="connsiteY3" fmla="*/ 6011863 h 6011863"/>
              <a:gd name="connsiteX4" fmla="*/ 0 w 6100763"/>
              <a:gd name="connsiteY4" fmla="*/ 6011863 h 6011863"/>
              <a:gd name="connsiteX5" fmla="*/ 0 w 6100763"/>
              <a:gd name="connsiteY5" fmla="*/ 6011862 h 6011863"/>
              <a:gd name="connsiteX6" fmla="*/ 15106 w 6100763"/>
              <a:gd name="connsiteY6" fmla="*/ 6011862 h 6011863"/>
              <a:gd name="connsiteX0" fmla="*/ 1634355 w 6100763"/>
              <a:gd name="connsiteY0" fmla="*/ 0 h 6011863"/>
              <a:gd name="connsiteX1" fmla="*/ 6100763 w 6100763"/>
              <a:gd name="connsiteY1" fmla="*/ 0 h 6011863"/>
              <a:gd name="connsiteX2" fmla="*/ 6100763 w 6100763"/>
              <a:gd name="connsiteY2" fmla="*/ 4252625 h 6011863"/>
              <a:gd name="connsiteX3" fmla="*/ 2219907 w 6100763"/>
              <a:gd name="connsiteY3" fmla="*/ 6011863 h 6011863"/>
              <a:gd name="connsiteX4" fmla="*/ 0 w 6100763"/>
              <a:gd name="connsiteY4" fmla="*/ 6011863 h 6011863"/>
              <a:gd name="connsiteX5" fmla="*/ 0 w 6100763"/>
              <a:gd name="connsiteY5" fmla="*/ 6011862 h 6011863"/>
              <a:gd name="connsiteX6" fmla="*/ 15106 w 6100763"/>
              <a:gd name="connsiteY6" fmla="*/ 6011862 h 6011863"/>
              <a:gd name="connsiteX7" fmla="*/ 1634355 w 6100763"/>
              <a:gd name="connsiteY7" fmla="*/ 0 h 6011863"/>
              <a:gd name="connsiteX0" fmla="*/ 1634355 w 6100763"/>
              <a:gd name="connsiteY0" fmla="*/ 0 h 6011863"/>
              <a:gd name="connsiteX1" fmla="*/ 6100763 w 6100763"/>
              <a:gd name="connsiteY1" fmla="*/ 0 h 6011863"/>
              <a:gd name="connsiteX2" fmla="*/ 6098382 w 6100763"/>
              <a:gd name="connsiteY2" fmla="*/ 4257388 h 6011863"/>
              <a:gd name="connsiteX3" fmla="*/ 2219907 w 6100763"/>
              <a:gd name="connsiteY3" fmla="*/ 6011863 h 6011863"/>
              <a:gd name="connsiteX4" fmla="*/ 0 w 6100763"/>
              <a:gd name="connsiteY4" fmla="*/ 6011863 h 6011863"/>
              <a:gd name="connsiteX5" fmla="*/ 0 w 6100763"/>
              <a:gd name="connsiteY5" fmla="*/ 6011862 h 6011863"/>
              <a:gd name="connsiteX6" fmla="*/ 15106 w 6100763"/>
              <a:gd name="connsiteY6" fmla="*/ 6011862 h 6011863"/>
              <a:gd name="connsiteX7" fmla="*/ 1634355 w 6100763"/>
              <a:gd name="connsiteY7" fmla="*/ 0 h 6011863"/>
              <a:gd name="connsiteX0" fmla="*/ 1634355 w 6100993"/>
              <a:gd name="connsiteY0" fmla="*/ 0 h 6011863"/>
              <a:gd name="connsiteX1" fmla="*/ 6100763 w 6100993"/>
              <a:gd name="connsiteY1" fmla="*/ 0 h 6011863"/>
              <a:gd name="connsiteX2" fmla="*/ 6100764 w 6100993"/>
              <a:gd name="connsiteY2" fmla="*/ 4255007 h 6011863"/>
              <a:gd name="connsiteX3" fmla="*/ 2219907 w 6100993"/>
              <a:gd name="connsiteY3" fmla="*/ 6011863 h 6011863"/>
              <a:gd name="connsiteX4" fmla="*/ 0 w 6100993"/>
              <a:gd name="connsiteY4" fmla="*/ 6011863 h 6011863"/>
              <a:gd name="connsiteX5" fmla="*/ 0 w 6100993"/>
              <a:gd name="connsiteY5" fmla="*/ 6011862 h 6011863"/>
              <a:gd name="connsiteX6" fmla="*/ 15106 w 6100993"/>
              <a:gd name="connsiteY6" fmla="*/ 6011862 h 6011863"/>
              <a:gd name="connsiteX7" fmla="*/ 1634355 w 6100993"/>
              <a:gd name="connsiteY7" fmla="*/ 0 h 6011863"/>
              <a:gd name="connsiteX0" fmla="*/ 1634355 w 6100993"/>
              <a:gd name="connsiteY0" fmla="*/ 0 h 6011863"/>
              <a:gd name="connsiteX1" fmla="*/ 6100763 w 6100993"/>
              <a:gd name="connsiteY1" fmla="*/ 0 h 6011863"/>
              <a:gd name="connsiteX2" fmla="*/ 6100764 w 6100993"/>
              <a:gd name="connsiteY2" fmla="*/ 4252626 h 6011863"/>
              <a:gd name="connsiteX3" fmla="*/ 2219907 w 6100993"/>
              <a:gd name="connsiteY3" fmla="*/ 6011863 h 6011863"/>
              <a:gd name="connsiteX4" fmla="*/ 0 w 6100993"/>
              <a:gd name="connsiteY4" fmla="*/ 6011863 h 6011863"/>
              <a:gd name="connsiteX5" fmla="*/ 0 w 6100993"/>
              <a:gd name="connsiteY5" fmla="*/ 6011862 h 6011863"/>
              <a:gd name="connsiteX6" fmla="*/ 15106 w 6100993"/>
              <a:gd name="connsiteY6" fmla="*/ 6011862 h 6011863"/>
              <a:gd name="connsiteX7" fmla="*/ 1634355 w 6100993"/>
              <a:gd name="connsiteY7" fmla="*/ 0 h 6011863"/>
              <a:gd name="connsiteX0" fmla="*/ 1634355 w 6100993"/>
              <a:gd name="connsiteY0" fmla="*/ 0 h 6011863"/>
              <a:gd name="connsiteX1" fmla="*/ 6100763 w 6100993"/>
              <a:gd name="connsiteY1" fmla="*/ 0 h 6011863"/>
              <a:gd name="connsiteX2" fmla="*/ 6100764 w 6100993"/>
              <a:gd name="connsiteY2" fmla="*/ 4252626 h 6011863"/>
              <a:gd name="connsiteX3" fmla="*/ 2222288 w 6100993"/>
              <a:gd name="connsiteY3" fmla="*/ 6011863 h 6011863"/>
              <a:gd name="connsiteX4" fmla="*/ 0 w 6100993"/>
              <a:gd name="connsiteY4" fmla="*/ 6011863 h 6011863"/>
              <a:gd name="connsiteX5" fmla="*/ 0 w 6100993"/>
              <a:gd name="connsiteY5" fmla="*/ 6011862 h 6011863"/>
              <a:gd name="connsiteX6" fmla="*/ 15106 w 6100993"/>
              <a:gd name="connsiteY6" fmla="*/ 6011862 h 6011863"/>
              <a:gd name="connsiteX7" fmla="*/ 1634355 w 6100993"/>
              <a:gd name="connsiteY7" fmla="*/ 0 h 6011863"/>
              <a:gd name="connsiteX0" fmla="*/ 1634355 w 6100993"/>
              <a:gd name="connsiteY0" fmla="*/ 0 h 6011863"/>
              <a:gd name="connsiteX1" fmla="*/ 6100763 w 6100993"/>
              <a:gd name="connsiteY1" fmla="*/ 0 h 6011863"/>
              <a:gd name="connsiteX2" fmla="*/ 6100764 w 6100993"/>
              <a:gd name="connsiteY2" fmla="*/ 4252626 h 6011863"/>
              <a:gd name="connsiteX3" fmla="*/ 2222288 w 6100993"/>
              <a:gd name="connsiteY3" fmla="*/ 6011863 h 6011863"/>
              <a:gd name="connsiteX4" fmla="*/ 0 w 6100993"/>
              <a:gd name="connsiteY4" fmla="*/ 6011863 h 6011863"/>
              <a:gd name="connsiteX5" fmla="*/ 0 w 6100993"/>
              <a:gd name="connsiteY5" fmla="*/ 6011862 h 6011863"/>
              <a:gd name="connsiteX6" fmla="*/ 10343 w 6100993"/>
              <a:gd name="connsiteY6" fmla="*/ 6011862 h 6011863"/>
              <a:gd name="connsiteX7" fmla="*/ 1634355 w 6100993"/>
              <a:gd name="connsiteY7" fmla="*/ 0 h 6011863"/>
              <a:gd name="connsiteX0" fmla="*/ 1831999 w 6298637"/>
              <a:gd name="connsiteY0" fmla="*/ 0 h 6090443"/>
              <a:gd name="connsiteX1" fmla="*/ 6298407 w 6298637"/>
              <a:gd name="connsiteY1" fmla="*/ 0 h 6090443"/>
              <a:gd name="connsiteX2" fmla="*/ 6298408 w 6298637"/>
              <a:gd name="connsiteY2" fmla="*/ 4252626 h 6090443"/>
              <a:gd name="connsiteX3" fmla="*/ 2419932 w 6298637"/>
              <a:gd name="connsiteY3" fmla="*/ 6011863 h 6090443"/>
              <a:gd name="connsiteX4" fmla="*/ 197644 w 6298637"/>
              <a:gd name="connsiteY4" fmla="*/ 6011863 h 6090443"/>
              <a:gd name="connsiteX5" fmla="*/ 0 w 6298637"/>
              <a:gd name="connsiteY5" fmla="*/ 6090443 h 6090443"/>
              <a:gd name="connsiteX6" fmla="*/ 207987 w 6298637"/>
              <a:gd name="connsiteY6" fmla="*/ 6011862 h 6090443"/>
              <a:gd name="connsiteX7" fmla="*/ 1831999 w 6298637"/>
              <a:gd name="connsiteY7" fmla="*/ 0 h 6090443"/>
              <a:gd name="connsiteX0" fmla="*/ 1831999 w 6298637"/>
              <a:gd name="connsiteY0" fmla="*/ 0 h 6090443"/>
              <a:gd name="connsiteX1" fmla="*/ 6298407 w 6298637"/>
              <a:gd name="connsiteY1" fmla="*/ 0 h 6090443"/>
              <a:gd name="connsiteX2" fmla="*/ 6298408 w 6298637"/>
              <a:gd name="connsiteY2" fmla="*/ 4252626 h 6090443"/>
              <a:gd name="connsiteX3" fmla="*/ 2419932 w 6298637"/>
              <a:gd name="connsiteY3" fmla="*/ 6011863 h 6090443"/>
              <a:gd name="connsiteX4" fmla="*/ 52388 w 6298637"/>
              <a:gd name="connsiteY4" fmla="*/ 5957094 h 6090443"/>
              <a:gd name="connsiteX5" fmla="*/ 0 w 6298637"/>
              <a:gd name="connsiteY5" fmla="*/ 6090443 h 6090443"/>
              <a:gd name="connsiteX6" fmla="*/ 207987 w 6298637"/>
              <a:gd name="connsiteY6" fmla="*/ 6011862 h 6090443"/>
              <a:gd name="connsiteX7" fmla="*/ 1831999 w 6298637"/>
              <a:gd name="connsiteY7" fmla="*/ 0 h 6090443"/>
              <a:gd name="connsiteX0" fmla="*/ 1831999 w 6298637"/>
              <a:gd name="connsiteY0" fmla="*/ 0 h 6090443"/>
              <a:gd name="connsiteX1" fmla="*/ 6298407 w 6298637"/>
              <a:gd name="connsiteY1" fmla="*/ 0 h 6090443"/>
              <a:gd name="connsiteX2" fmla="*/ 6298408 w 6298637"/>
              <a:gd name="connsiteY2" fmla="*/ 4252626 h 6090443"/>
              <a:gd name="connsiteX3" fmla="*/ 2419932 w 6298637"/>
              <a:gd name="connsiteY3" fmla="*/ 6011863 h 6090443"/>
              <a:gd name="connsiteX4" fmla="*/ 0 w 6298637"/>
              <a:gd name="connsiteY4" fmla="*/ 6090443 h 6090443"/>
              <a:gd name="connsiteX5" fmla="*/ 207987 w 6298637"/>
              <a:gd name="connsiteY5" fmla="*/ 6011862 h 6090443"/>
              <a:gd name="connsiteX6" fmla="*/ 1831999 w 6298637"/>
              <a:gd name="connsiteY6" fmla="*/ 0 h 6090443"/>
              <a:gd name="connsiteX0" fmla="*/ 1624012 w 6090650"/>
              <a:gd name="connsiteY0" fmla="*/ 0 h 6011863"/>
              <a:gd name="connsiteX1" fmla="*/ 6090420 w 6090650"/>
              <a:gd name="connsiteY1" fmla="*/ 0 h 6011863"/>
              <a:gd name="connsiteX2" fmla="*/ 6090421 w 6090650"/>
              <a:gd name="connsiteY2" fmla="*/ 4252626 h 6011863"/>
              <a:gd name="connsiteX3" fmla="*/ 2211945 w 6090650"/>
              <a:gd name="connsiteY3" fmla="*/ 6011863 h 6011863"/>
              <a:gd name="connsiteX4" fmla="*/ 0 w 6090650"/>
              <a:gd name="connsiteY4" fmla="*/ 6011862 h 6011863"/>
              <a:gd name="connsiteX5" fmla="*/ 1624012 w 6090650"/>
              <a:gd name="connsiteY5" fmla="*/ 0 h 6011863"/>
              <a:gd name="connsiteX0" fmla="*/ 1621630 w 6090650"/>
              <a:gd name="connsiteY0" fmla="*/ 0 h 6011863"/>
              <a:gd name="connsiteX1" fmla="*/ 6090420 w 6090650"/>
              <a:gd name="connsiteY1" fmla="*/ 0 h 6011863"/>
              <a:gd name="connsiteX2" fmla="*/ 6090421 w 6090650"/>
              <a:gd name="connsiteY2" fmla="*/ 4252626 h 6011863"/>
              <a:gd name="connsiteX3" fmla="*/ 2211945 w 6090650"/>
              <a:gd name="connsiteY3" fmla="*/ 6011863 h 6011863"/>
              <a:gd name="connsiteX4" fmla="*/ 0 w 6090650"/>
              <a:gd name="connsiteY4" fmla="*/ 6011862 h 6011863"/>
              <a:gd name="connsiteX5" fmla="*/ 1621630 w 6090650"/>
              <a:gd name="connsiteY5" fmla="*/ 0 h 6011863"/>
              <a:gd name="connsiteX0" fmla="*/ 1621630 w 6090650"/>
              <a:gd name="connsiteY0" fmla="*/ 0 h 6014244"/>
              <a:gd name="connsiteX1" fmla="*/ 6090420 w 6090650"/>
              <a:gd name="connsiteY1" fmla="*/ 2381 h 6014244"/>
              <a:gd name="connsiteX2" fmla="*/ 6090421 w 6090650"/>
              <a:gd name="connsiteY2" fmla="*/ 4255007 h 6014244"/>
              <a:gd name="connsiteX3" fmla="*/ 2211945 w 6090650"/>
              <a:gd name="connsiteY3" fmla="*/ 6014244 h 6014244"/>
              <a:gd name="connsiteX4" fmla="*/ 0 w 6090650"/>
              <a:gd name="connsiteY4" fmla="*/ 6014243 h 6014244"/>
              <a:gd name="connsiteX5" fmla="*/ 1621630 w 6090650"/>
              <a:gd name="connsiteY5" fmla="*/ 0 h 6014244"/>
              <a:gd name="connsiteX0" fmla="*/ 1621630 w 6090650"/>
              <a:gd name="connsiteY0" fmla="*/ 0 h 6011863"/>
              <a:gd name="connsiteX1" fmla="*/ 6090420 w 6090650"/>
              <a:gd name="connsiteY1" fmla="*/ 0 h 6011863"/>
              <a:gd name="connsiteX2" fmla="*/ 6090421 w 6090650"/>
              <a:gd name="connsiteY2" fmla="*/ 4252626 h 6011863"/>
              <a:gd name="connsiteX3" fmla="*/ 2211945 w 6090650"/>
              <a:gd name="connsiteY3" fmla="*/ 6011863 h 6011863"/>
              <a:gd name="connsiteX4" fmla="*/ 0 w 6090650"/>
              <a:gd name="connsiteY4" fmla="*/ 6011862 h 6011863"/>
              <a:gd name="connsiteX5" fmla="*/ 1621630 w 6090650"/>
              <a:gd name="connsiteY5" fmla="*/ 0 h 6011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0650" h="6011863">
                <a:moveTo>
                  <a:pt x="1621630" y="0"/>
                </a:moveTo>
                <a:lnTo>
                  <a:pt x="6090420" y="0"/>
                </a:lnTo>
                <a:cubicBezTo>
                  <a:pt x="6089626" y="1419129"/>
                  <a:pt x="6091215" y="2833497"/>
                  <a:pt x="6090421" y="4252626"/>
                </a:cubicBezTo>
                <a:lnTo>
                  <a:pt x="2211945" y="6011863"/>
                </a:lnTo>
                <a:lnTo>
                  <a:pt x="0" y="6011862"/>
                </a:lnTo>
                <a:lnTo>
                  <a:pt x="1621630" y="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 algn="ctr"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264"/>
          <a:ext cx="1587" cy="12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9" imgH="398" progId="TCLayout.ActiveDocument.1">
                  <p:embed/>
                </p:oleObj>
              </mc:Choice>
              <mc:Fallback>
                <p:oleObj name="think-cell Slide" r:id="rId4" imgW="399" imgH="398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264"/>
                        <a:ext cx="1587" cy="12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Graphic 1">
            <a:extLst>
              <a:ext uri="{FF2B5EF4-FFF2-40B4-BE49-F238E27FC236}">
                <a16:creationId xmlns:a16="http://schemas.microsoft.com/office/drawing/2014/main" id="{E67FD83F-E254-90F2-3FE6-D2286BD6FAA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571122" y="5556311"/>
            <a:ext cx="1671428" cy="180000"/>
          </a:xfrm>
          <a:prstGeom prst="rect">
            <a:avLst/>
          </a:prstGeom>
        </p:spPr>
      </p:pic>
      <p:sp>
        <p:nvSpPr>
          <p:cNvPr id="7" name="Nadpis 6"/>
          <p:cNvSpPr>
            <a:spLocks noGrp="1"/>
          </p:cNvSpPr>
          <p:nvPr userDrawn="1">
            <p:ph type="title" hasCustomPrompt="1"/>
          </p:nvPr>
        </p:nvSpPr>
        <p:spPr>
          <a:xfrm>
            <a:off x="449263" y="396000"/>
            <a:ext cx="4968876" cy="1403760"/>
          </a:xfrm>
        </p:spPr>
        <p:txBody>
          <a:bodyPr anchor="t" anchorCtr="0">
            <a:noAutofit/>
          </a:bodyPr>
          <a:lstStyle>
            <a:lvl1pPr>
              <a:lnSpc>
                <a:spcPts val="6000"/>
              </a:lnSpc>
              <a:defRPr sz="6000" b="0" cap="none" baseline="0">
                <a:solidFill>
                  <a:schemeClr val="accent2"/>
                </a:solidFill>
                <a:latin typeface="SKODA Next Light" panose="020B0304020603020204" pitchFamily="34" charset="0"/>
              </a:defRPr>
            </a:lvl1pPr>
          </a:lstStyle>
          <a:p>
            <a:r>
              <a:rPr lang="cs-CZ" noProof="0"/>
              <a:t>Název</a:t>
            </a:r>
            <a:br>
              <a:rPr lang="cs-CZ" noProof="0"/>
            </a:br>
            <a:r>
              <a:rPr lang="cs-CZ" noProof="0"/>
              <a:t>prezentace</a:t>
            </a:r>
          </a:p>
        </p:txBody>
      </p:sp>
      <p:sp>
        <p:nvSpPr>
          <p:cNvPr id="19" name="Zástupný symbol pro text 18"/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449263" y="2051999"/>
            <a:ext cx="4824412" cy="1350013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Font typeface="Arial" panose="020B0604020202020204" pitchFamily="34" charset="0"/>
              <a:buNone/>
              <a:defRPr sz="2200">
                <a:solidFill>
                  <a:schemeClr val="accent2"/>
                </a:solidFill>
                <a:latin typeface="SKODA Next Light" panose="020B0304020603020204" pitchFamily="34" charset="0"/>
              </a:defRPr>
            </a:lvl1pPr>
          </a:lstStyle>
          <a:p>
            <a:pPr lvl="0"/>
            <a:r>
              <a:rPr lang="cs-CZ" noProof="0"/>
              <a:t>Dodatečné informace</a:t>
            </a:r>
          </a:p>
        </p:txBody>
      </p:sp>
      <p:sp>
        <p:nvSpPr>
          <p:cNvPr id="16" name="Zástupný symbol pro číslo snímku 5"/>
          <p:cNvSpPr>
            <a:spLocks noGrp="1"/>
          </p:cNvSpPr>
          <p:nvPr userDrawn="1">
            <p:ph type="sldNum" sz="quarter" idx="10"/>
          </p:nvPr>
        </p:nvSpPr>
        <p:spPr>
          <a:xfrm>
            <a:off x="449263" y="5778000"/>
            <a:ext cx="269960" cy="180000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22" name="Zástupný symbol pro zápatí 6"/>
          <p:cNvSpPr>
            <a:spLocks noGrp="1"/>
          </p:cNvSpPr>
          <p:nvPr userDrawn="1">
            <p:ph type="ftr" sz="quarter" idx="11"/>
          </p:nvPr>
        </p:nvSpPr>
        <p:spPr>
          <a:xfrm>
            <a:off x="449262" y="5598000"/>
            <a:ext cx="7686737" cy="180000"/>
          </a:xfrm>
          <a:noFill/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GB" sz="1200" b="0" smtClean="0">
                <a:solidFill>
                  <a:schemeClr val="accent2"/>
                </a:solidFill>
                <a:effectLst/>
                <a:latin typeface="SKODA Next Light" panose="020B0304020603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noProof="0"/>
              <a:t>S15 | 08.06.2023 | Future city tech | VTO | Miroslav Holan</a:t>
            </a:r>
            <a:endParaRPr lang="cs-CZ" noProof="0"/>
          </a:p>
        </p:txBody>
      </p:sp>
    </p:spTree>
    <p:extLst>
      <p:ext uri="{BB962C8B-B14F-4D97-AF65-F5344CB8AC3E}">
        <p14:creationId xmlns:p14="http://schemas.microsoft.com/office/powerpoint/2010/main" val="49780722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387D75E-1DB6-CCAA-28E8-1DCBFB939DCB}"/>
              </a:ext>
            </a:extLst>
          </p:cNvPr>
          <p:cNvSpPr/>
          <p:nvPr userDrawn="1"/>
        </p:nvSpPr>
        <p:spPr>
          <a:xfrm>
            <a:off x="0" y="0"/>
            <a:ext cx="5796000" cy="1548000"/>
          </a:xfrm>
          <a:custGeom>
            <a:avLst/>
            <a:gdLst>
              <a:gd name="connsiteX0" fmla="*/ 0 w 5796000"/>
              <a:gd name="connsiteY0" fmla="*/ 0 h 1548000"/>
              <a:gd name="connsiteX1" fmla="*/ 5796000 w 5796000"/>
              <a:gd name="connsiteY1" fmla="*/ 0 h 1548000"/>
              <a:gd name="connsiteX2" fmla="*/ 5796000 w 5796000"/>
              <a:gd name="connsiteY2" fmla="*/ 1548000 h 1548000"/>
              <a:gd name="connsiteX3" fmla="*/ 0 w 5796000"/>
              <a:gd name="connsiteY3" fmla="*/ 1548000 h 1548000"/>
              <a:gd name="connsiteX4" fmla="*/ 0 w 5796000"/>
              <a:gd name="connsiteY4" fmla="*/ 0 h 1548000"/>
              <a:gd name="connsiteX0" fmla="*/ 0 w 5796000"/>
              <a:gd name="connsiteY0" fmla="*/ 0 h 1548000"/>
              <a:gd name="connsiteX1" fmla="*/ 5796000 w 5796000"/>
              <a:gd name="connsiteY1" fmla="*/ 0 h 1548000"/>
              <a:gd name="connsiteX2" fmla="*/ 5796000 w 5796000"/>
              <a:gd name="connsiteY2" fmla="*/ 1548000 h 1548000"/>
              <a:gd name="connsiteX3" fmla="*/ 0 w 5796000"/>
              <a:gd name="connsiteY3" fmla="*/ 1548000 h 1548000"/>
              <a:gd name="connsiteX4" fmla="*/ 0 w 5796000"/>
              <a:gd name="connsiteY4" fmla="*/ 0 h 1548000"/>
              <a:gd name="connsiteX0" fmla="*/ 0 w 5796000"/>
              <a:gd name="connsiteY0" fmla="*/ 0 h 1548000"/>
              <a:gd name="connsiteX1" fmla="*/ 5796000 w 5796000"/>
              <a:gd name="connsiteY1" fmla="*/ 0 h 1548000"/>
              <a:gd name="connsiteX2" fmla="*/ 5796000 w 5796000"/>
              <a:gd name="connsiteY2" fmla="*/ 1548000 h 1548000"/>
              <a:gd name="connsiteX3" fmla="*/ 0 w 5796000"/>
              <a:gd name="connsiteY3" fmla="*/ 1548000 h 1548000"/>
              <a:gd name="connsiteX4" fmla="*/ 0 w 5796000"/>
              <a:gd name="connsiteY4" fmla="*/ 0 h 1548000"/>
              <a:gd name="connsiteX0" fmla="*/ 0 w 5796000"/>
              <a:gd name="connsiteY0" fmla="*/ 0 h 1548000"/>
              <a:gd name="connsiteX1" fmla="*/ 5796000 w 5796000"/>
              <a:gd name="connsiteY1" fmla="*/ 0 h 1548000"/>
              <a:gd name="connsiteX2" fmla="*/ 5796000 w 5796000"/>
              <a:gd name="connsiteY2" fmla="*/ 1548000 h 1548000"/>
              <a:gd name="connsiteX3" fmla="*/ 0 w 5796000"/>
              <a:gd name="connsiteY3" fmla="*/ 1548000 h 1548000"/>
              <a:gd name="connsiteX4" fmla="*/ 0 w 5796000"/>
              <a:gd name="connsiteY4" fmla="*/ 0 h 1548000"/>
              <a:gd name="connsiteX0" fmla="*/ 0 w 5796000"/>
              <a:gd name="connsiteY0" fmla="*/ 0 h 1548000"/>
              <a:gd name="connsiteX1" fmla="*/ 5796000 w 5796000"/>
              <a:gd name="connsiteY1" fmla="*/ 0 h 1548000"/>
              <a:gd name="connsiteX2" fmla="*/ 0 w 5796000"/>
              <a:gd name="connsiteY2" fmla="*/ 1548000 h 1548000"/>
              <a:gd name="connsiteX3" fmla="*/ 0 w 5796000"/>
              <a:gd name="connsiteY3" fmla="*/ 0 h 154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96000" h="1548000">
                <a:moveTo>
                  <a:pt x="0" y="0"/>
                </a:moveTo>
                <a:lnTo>
                  <a:pt x="5796000" y="0"/>
                </a:lnTo>
                <a:lnTo>
                  <a:pt x="0" y="1548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noProof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5283C61-2372-54D3-1343-FF994CE15C41}"/>
              </a:ext>
            </a:extLst>
          </p:cNvPr>
          <p:cNvSpPr/>
          <p:nvPr userDrawn="1"/>
        </p:nvSpPr>
        <p:spPr>
          <a:xfrm>
            <a:off x="8136000" y="0"/>
            <a:ext cx="2556000" cy="6011863"/>
          </a:xfrm>
          <a:custGeom>
            <a:avLst/>
            <a:gdLst>
              <a:gd name="connsiteX0" fmla="*/ 0 w 2556000"/>
              <a:gd name="connsiteY0" fmla="*/ 0 h 6011863"/>
              <a:gd name="connsiteX1" fmla="*/ 2556000 w 2556000"/>
              <a:gd name="connsiteY1" fmla="*/ 0 h 6011863"/>
              <a:gd name="connsiteX2" fmla="*/ 2556000 w 2556000"/>
              <a:gd name="connsiteY2" fmla="*/ 6011863 h 6011863"/>
              <a:gd name="connsiteX3" fmla="*/ 0 w 2556000"/>
              <a:gd name="connsiteY3" fmla="*/ 6011863 h 6011863"/>
              <a:gd name="connsiteX4" fmla="*/ 0 w 2556000"/>
              <a:gd name="connsiteY4" fmla="*/ 0 h 6011863"/>
              <a:gd name="connsiteX0" fmla="*/ 1607344 w 2556000"/>
              <a:gd name="connsiteY0" fmla="*/ 0 h 6011863"/>
              <a:gd name="connsiteX1" fmla="*/ 2556000 w 2556000"/>
              <a:gd name="connsiteY1" fmla="*/ 0 h 6011863"/>
              <a:gd name="connsiteX2" fmla="*/ 2556000 w 2556000"/>
              <a:gd name="connsiteY2" fmla="*/ 6011863 h 6011863"/>
              <a:gd name="connsiteX3" fmla="*/ 0 w 2556000"/>
              <a:gd name="connsiteY3" fmla="*/ 6011863 h 6011863"/>
              <a:gd name="connsiteX4" fmla="*/ 1607344 w 2556000"/>
              <a:gd name="connsiteY4" fmla="*/ 0 h 6011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56000" h="6011863">
                <a:moveTo>
                  <a:pt x="1607344" y="0"/>
                </a:moveTo>
                <a:lnTo>
                  <a:pt x="2556000" y="0"/>
                </a:lnTo>
                <a:lnTo>
                  <a:pt x="2556000" y="6011863"/>
                </a:lnTo>
                <a:lnTo>
                  <a:pt x="0" y="6011863"/>
                </a:lnTo>
                <a:lnTo>
                  <a:pt x="1607344" y="0"/>
                </a:lnTo>
                <a:close/>
              </a:path>
            </a:pathLst>
          </a:cu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noProof="0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E5F3257C-BE2D-4876-B4E7-8461AA05D02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571122" y="5556311"/>
            <a:ext cx="1671428" cy="180000"/>
          </a:xfrm>
          <a:prstGeom prst="rect">
            <a:avLst/>
          </a:prstGeom>
        </p:spPr>
      </p:pic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264"/>
          <a:ext cx="1587" cy="12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99" imgH="398" progId="TCLayout.ActiveDocument.1">
                  <p:embed/>
                </p:oleObj>
              </mc:Choice>
              <mc:Fallback>
                <p:oleObj name="think-cell Slide" r:id="rId6" imgW="399" imgH="398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0" y="1264"/>
                        <a:ext cx="1587" cy="12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 userDrawn="1">
            <p:ph type="title" hasCustomPrompt="1"/>
          </p:nvPr>
        </p:nvSpPr>
        <p:spPr>
          <a:xfrm>
            <a:off x="449262" y="1314450"/>
            <a:ext cx="7686737" cy="4032000"/>
          </a:xfrm>
        </p:spPr>
        <p:txBody>
          <a:bodyPr anchor="b" anchorCtr="0">
            <a:noAutofit/>
          </a:bodyPr>
          <a:lstStyle>
            <a:lvl1pPr>
              <a:lnSpc>
                <a:spcPts val="6000"/>
              </a:lnSpc>
              <a:defRPr sz="6000" b="0" cap="none" baseline="0">
                <a:solidFill>
                  <a:schemeClr val="accent2"/>
                </a:solidFill>
                <a:latin typeface="SKODA Next Light" panose="020B0304020603020204" pitchFamily="34" charset="0"/>
              </a:defRPr>
            </a:lvl1pPr>
          </a:lstStyle>
          <a:p>
            <a:r>
              <a:rPr lang="cs-CZ" noProof="0"/>
              <a:t>Název</a:t>
            </a:r>
            <a:br>
              <a:rPr lang="cs-CZ" noProof="0"/>
            </a:br>
            <a:r>
              <a:rPr lang="cs-CZ" noProof="0"/>
              <a:t>prezentace</a:t>
            </a:r>
          </a:p>
        </p:txBody>
      </p:sp>
      <p:sp>
        <p:nvSpPr>
          <p:cNvPr id="16" name="Zástupný symbol pro číslo snímku 5"/>
          <p:cNvSpPr>
            <a:spLocks noGrp="1"/>
          </p:cNvSpPr>
          <p:nvPr userDrawn="1">
            <p:ph type="sldNum" sz="quarter" idx="10"/>
          </p:nvPr>
        </p:nvSpPr>
        <p:spPr>
          <a:xfrm>
            <a:off x="449262" y="5778000"/>
            <a:ext cx="269960" cy="180000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22" name="Zástupný symbol pro zápatí 6"/>
          <p:cNvSpPr>
            <a:spLocks noGrp="1"/>
          </p:cNvSpPr>
          <p:nvPr userDrawn="1">
            <p:ph type="ftr" sz="quarter" idx="11"/>
          </p:nvPr>
        </p:nvSpPr>
        <p:spPr>
          <a:xfrm>
            <a:off x="449262" y="5598000"/>
            <a:ext cx="7686738" cy="180000"/>
          </a:xfrm>
          <a:noFill/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GB" sz="1200" b="0" smtClean="0">
                <a:solidFill>
                  <a:schemeClr val="accent2"/>
                </a:solidFill>
                <a:effectLst/>
                <a:latin typeface="SKODA Next Light" panose="020B0304020603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US" noProof="0"/>
              <a:t>S15 | 08.06.2023 | Future city tech | VTO | Miroslav Holan</a:t>
            </a:r>
            <a:endParaRPr lang="cs-CZ" noProof="0"/>
          </a:p>
        </p:txBody>
      </p:sp>
    </p:spTree>
    <p:extLst>
      <p:ext uri="{BB962C8B-B14F-4D97-AF65-F5344CB8AC3E}">
        <p14:creationId xmlns:p14="http://schemas.microsoft.com/office/powerpoint/2010/main" val="170322000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xt Chapt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90BAC904-4638-901D-4A48-3CD3F5ADF590}"/>
              </a:ext>
            </a:extLst>
          </p:cNvPr>
          <p:cNvSpPr/>
          <p:nvPr userDrawn="1"/>
        </p:nvSpPr>
        <p:spPr>
          <a:xfrm>
            <a:off x="9197999" y="5623200"/>
            <a:ext cx="1080000" cy="180000"/>
          </a:xfrm>
          <a:prstGeom prst="rect">
            <a:avLst/>
          </a:pr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700" dirty="0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92AA19F-6376-FAB3-2A4C-666DF6E7BED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41200" y="5659200"/>
            <a:ext cx="1002857" cy="108000"/>
          </a:xfrm>
          <a:prstGeom prst="rect">
            <a:avLst/>
          </a:prstGeom>
        </p:spPr>
      </p:pic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264"/>
          <a:ext cx="1587" cy="12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9" imgH="398" progId="TCLayout.ActiveDocument.1">
                  <p:embed/>
                </p:oleObj>
              </mc:Choice>
              <mc:Fallback>
                <p:oleObj name="think-cell Slide" r:id="rId5" imgW="399" imgH="398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264"/>
                        <a:ext cx="1587" cy="12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 userDrawn="1">
            <p:ph type="title" hasCustomPrompt="1"/>
          </p:nvPr>
        </p:nvSpPr>
        <p:spPr>
          <a:xfrm>
            <a:off x="449263" y="1314450"/>
            <a:ext cx="9791194" cy="1620000"/>
          </a:xfrm>
        </p:spPr>
        <p:txBody>
          <a:bodyPr anchor="t" anchorCtr="0">
            <a:noAutofit/>
          </a:bodyPr>
          <a:lstStyle>
            <a:lvl1pPr marL="0" indent="0">
              <a:lnSpc>
                <a:spcPts val="6000"/>
              </a:lnSpc>
              <a:buFont typeface="+mj-lt"/>
              <a:buNone/>
              <a:defRPr sz="6000" b="0" cap="none" baseline="0">
                <a:solidFill>
                  <a:schemeClr val="accent2"/>
                </a:solidFill>
                <a:latin typeface="SKODA Next Light" panose="020B0304020603020204" pitchFamily="34" charset="0"/>
              </a:defRPr>
            </a:lvl1pPr>
          </a:lstStyle>
          <a:p>
            <a:r>
              <a:rPr lang="cs-CZ" noProof="0"/>
              <a:t>1. Kapitola</a:t>
            </a:r>
          </a:p>
        </p:txBody>
      </p:sp>
      <p:sp>
        <p:nvSpPr>
          <p:cNvPr id="11" name="Text Placeholder 19">
            <a:extLst>
              <a:ext uri="{FF2B5EF4-FFF2-40B4-BE49-F238E27FC236}">
                <a16:creationId xmlns:a16="http://schemas.microsoft.com/office/drawing/2014/main" id="{6DE4403A-6787-41E0-C252-174FF53546B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49601" y="3005930"/>
            <a:ext cx="8890856" cy="234077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buNone/>
              <a:defRPr sz="2000" b="0">
                <a:solidFill>
                  <a:schemeClr val="accent2"/>
                </a:solidFill>
                <a:latin typeface="SKODA Next Light" panose="020B0304020603020204" pitchFamily="34" charset="0"/>
              </a:defRPr>
            </a:lvl1pPr>
          </a:lstStyle>
          <a:p>
            <a:pPr lvl="0"/>
            <a:r>
              <a:rPr lang="cs-CZ" noProof="0"/>
              <a:t>Detaily kapitoly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5DA00B0-72A3-6348-58CB-D5A08617BE18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noProof="0"/>
              <a:t>S15 | 08.06.2023 | Future city tech | VTO | Miroslav Holan</a:t>
            </a:r>
            <a:endParaRPr lang="cs-CZ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46914EB-8A13-3435-7731-7287A68E5A2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</p:spTree>
    <p:extLst>
      <p:ext uri="{BB962C8B-B14F-4D97-AF65-F5344CB8AC3E}">
        <p14:creationId xmlns:p14="http://schemas.microsoft.com/office/powerpoint/2010/main" val="247566659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phic 13">
            <a:extLst>
              <a:ext uri="{FF2B5EF4-FFF2-40B4-BE49-F238E27FC236}">
                <a16:creationId xmlns:a16="http://schemas.microsoft.com/office/drawing/2014/main" id="{B8C2D215-3FCB-242D-A235-4DF1AF0721C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41200" y="5659200"/>
            <a:ext cx="1002857" cy="108000"/>
          </a:xfrm>
          <a:prstGeom prst="rect">
            <a:avLst/>
          </a:prstGeom>
        </p:spPr>
      </p:pic>
      <p:sp>
        <p:nvSpPr>
          <p:cNvPr id="20" name="Rectangle 8">
            <a:extLst>
              <a:ext uri="{FF2B5EF4-FFF2-40B4-BE49-F238E27FC236}">
                <a16:creationId xmlns:a16="http://schemas.microsoft.com/office/drawing/2014/main" id="{5459F715-91F7-0B24-F89E-0431C352C5F9}"/>
              </a:ext>
            </a:extLst>
          </p:cNvPr>
          <p:cNvSpPr/>
          <p:nvPr userDrawn="1"/>
        </p:nvSpPr>
        <p:spPr>
          <a:xfrm>
            <a:off x="0" y="-1"/>
            <a:ext cx="7132763" cy="6011863"/>
          </a:xfrm>
          <a:custGeom>
            <a:avLst/>
            <a:gdLst>
              <a:gd name="connsiteX0" fmla="*/ 0 w 7128000"/>
              <a:gd name="connsiteY0" fmla="*/ 0 h 6011863"/>
              <a:gd name="connsiteX1" fmla="*/ 7128000 w 7128000"/>
              <a:gd name="connsiteY1" fmla="*/ 0 h 6011863"/>
              <a:gd name="connsiteX2" fmla="*/ 7128000 w 7128000"/>
              <a:gd name="connsiteY2" fmla="*/ 6011863 h 6011863"/>
              <a:gd name="connsiteX3" fmla="*/ 0 w 7128000"/>
              <a:gd name="connsiteY3" fmla="*/ 6011863 h 6011863"/>
              <a:gd name="connsiteX4" fmla="*/ 0 w 7128000"/>
              <a:gd name="connsiteY4" fmla="*/ 0 h 6011863"/>
              <a:gd name="connsiteX0" fmla="*/ 0 w 7128000"/>
              <a:gd name="connsiteY0" fmla="*/ 0 h 6011863"/>
              <a:gd name="connsiteX1" fmla="*/ 7128000 w 7128000"/>
              <a:gd name="connsiteY1" fmla="*/ 0 h 6011863"/>
              <a:gd name="connsiteX2" fmla="*/ 5537325 w 7128000"/>
              <a:gd name="connsiteY2" fmla="*/ 6011863 h 6011863"/>
              <a:gd name="connsiteX3" fmla="*/ 0 w 7128000"/>
              <a:gd name="connsiteY3" fmla="*/ 6011863 h 6011863"/>
              <a:gd name="connsiteX4" fmla="*/ 0 w 7128000"/>
              <a:gd name="connsiteY4" fmla="*/ 0 h 6011863"/>
              <a:gd name="connsiteX0" fmla="*/ 0 w 7128000"/>
              <a:gd name="connsiteY0" fmla="*/ 0 h 6011863"/>
              <a:gd name="connsiteX1" fmla="*/ 7128000 w 7128000"/>
              <a:gd name="connsiteY1" fmla="*/ 0 h 6011863"/>
              <a:gd name="connsiteX2" fmla="*/ 5544469 w 7128000"/>
              <a:gd name="connsiteY2" fmla="*/ 6011863 h 6011863"/>
              <a:gd name="connsiteX3" fmla="*/ 0 w 7128000"/>
              <a:gd name="connsiteY3" fmla="*/ 6011863 h 6011863"/>
              <a:gd name="connsiteX4" fmla="*/ 0 w 7128000"/>
              <a:gd name="connsiteY4" fmla="*/ 0 h 6011863"/>
              <a:gd name="connsiteX0" fmla="*/ 0 w 7128000"/>
              <a:gd name="connsiteY0" fmla="*/ 0 h 6011863"/>
              <a:gd name="connsiteX1" fmla="*/ 7128000 w 7128000"/>
              <a:gd name="connsiteY1" fmla="*/ 0 h 6011863"/>
              <a:gd name="connsiteX2" fmla="*/ 5546850 w 7128000"/>
              <a:gd name="connsiteY2" fmla="*/ 6011863 h 6011863"/>
              <a:gd name="connsiteX3" fmla="*/ 0 w 7128000"/>
              <a:gd name="connsiteY3" fmla="*/ 6011863 h 6011863"/>
              <a:gd name="connsiteX4" fmla="*/ 0 w 7128000"/>
              <a:gd name="connsiteY4" fmla="*/ 0 h 6011863"/>
              <a:gd name="connsiteX0" fmla="*/ 0 w 7132763"/>
              <a:gd name="connsiteY0" fmla="*/ 0 h 6011863"/>
              <a:gd name="connsiteX1" fmla="*/ 7132763 w 7132763"/>
              <a:gd name="connsiteY1" fmla="*/ 0 h 6011863"/>
              <a:gd name="connsiteX2" fmla="*/ 5546850 w 7132763"/>
              <a:gd name="connsiteY2" fmla="*/ 6011863 h 6011863"/>
              <a:gd name="connsiteX3" fmla="*/ 0 w 7132763"/>
              <a:gd name="connsiteY3" fmla="*/ 6011863 h 6011863"/>
              <a:gd name="connsiteX4" fmla="*/ 0 w 7132763"/>
              <a:gd name="connsiteY4" fmla="*/ 0 h 6011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132763" h="6011863">
                <a:moveTo>
                  <a:pt x="0" y="0"/>
                </a:moveTo>
                <a:lnTo>
                  <a:pt x="7132763" y="0"/>
                </a:lnTo>
                <a:lnTo>
                  <a:pt x="5546850" y="6011863"/>
                </a:lnTo>
                <a:lnTo>
                  <a:pt x="0" y="601186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noProof="0"/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003878D3-764A-09F2-651C-204CDCBB266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544469" y="0"/>
            <a:ext cx="5147304" cy="6011862"/>
          </a:xfrm>
          <a:custGeom>
            <a:avLst/>
            <a:gdLst>
              <a:gd name="connsiteX0" fmla="*/ 4361322 w 5147304"/>
              <a:gd name="connsiteY0" fmla="*/ 5682474 h 6011862"/>
              <a:gd name="connsiteX1" fmla="*/ 4425429 w 5147304"/>
              <a:gd name="connsiteY1" fmla="*/ 5682474 h 6011862"/>
              <a:gd name="connsiteX2" fmla="*/ 4442782 w 5147304"/>
              <a:gd name="connsiteY2" fmla="*/ 5699215 h 6011862"/>
              <a:gd name="connsiteX3" fmla="*/ 4442782 w 5147304"/>
              <a:gd name="connsiteY3" fmla="*/ 5727185 h 6011862"/>
              <a:gd name="connsiteX4" fmla="*/ 4425429 w 5147304"/>
              <a:gd name="connsiteY4" fmla="*/ 5743926 h 6011862"/>
              <a:gd name="connsiteX5" fmla="*/ 4361322 w 5147304"/>
              <a:gd name="connsiteY5" fmla="*/ 5743926 h 6011862"/>
              <a:gd name="connsiteX6" fmla="*/ 4146459 w 5147304"/>
              <a:gd name="connsiteY6" fmla="*/ 5682474 h 6011862"/>
              <a:gd name="connsiteX7" fmla="*/ 4200561 w 5147304"/>
              <a:gd name="connsiteY7" fmla="*/ 5682474 h 6011862"/>
              <a:gd name="connsiteX8" fmla="*/ 4216690 w 5147304"/>
              <a:gd name="connsiteY8" fmla="*/ 5698194 h 6011862"/>
              <a:gd name="connsiteX9" fmla="*/ 4216690 w 5147304"/>
              <a:gd name="connsiteY9" fmla="*/ 5728206 h 6011862"/>
              <a:gd name="connsiteX10" fmla="*/ 4200561 w 5147304"/>
              <a:gd name="connsiteY10" fmla="*/ 5743926 h 6011862"/>
              <a:gd name="connsiteX11" fmla="*/ 4146459 w 5147304"/>
              <a:gd name="connsiteY11" fmla="*/ 5743926 h 6011862"/>
              <a:gd name="connsiteX12" fmla="*/ 4130330 w 5147304"/>
              <a:gd name="connsiteY12" fmla="*/ 5728206 h 6011862"/>
              <a:gd name="connsiteX13" fmla="*/ 4130330 w 5147304"/>
              <a:gd name="connsiteY13" fmla="*/ 5698194 h 6011862"/>
              <a:gd name="connsiteX14" fmla="*/ 4146459 w 5147304"/>
              <a:gd name="connsiteY14" fmla="*/ 5682474 h 6011862"/>
              <a:gd name="connsiteX15" fmla="*/ 4619272 w 5147304"/>
              <a:gd name="connsiteY15" fmla="*/ 5679412 h 6011862"/>
              <a:gd name="connsiteX16" fmla="*/ 4645207 w 5147304"/>
              <a:gd name="connsiteY16" fmla="*/ 5725347 h 6011862"/>
              <a:gd name="connsiteX17" fmla="*/ 4593344 w 5147304"/>
              <a:gd name="connsiteY17" fmla="*/ 5725347 h 6011862"/>
              <a:gd name="connsiteX18" fmla="*/ 4601714 w 5147304"/>
              <a:gd name="connsiteY18" fmla="*/ 5659200 h 6011862"/>
              <a:gd name="connsiteX19" fmla="*/ 4541080 w 5147304"/>
              <a:gd name="connsiteY19" fmla="*/ 5767200 h 6011862"/>
              <a:gd name="connsiteX20" fmla="*/ 4569870 w 5147304"/>
              <a:gd name="connsiteY20" fmla="*/ 5767200 h 6011862"/>
              <a:gd name="connsiteX21" fmla="*/ 4592735 w 5147304"/>
              <a:gd name="connsiteY21" fmla="*/ 5726572 h 6011862"/>
              <a:gd name="connsiteX22" fmla="*/ 4606620 w 5147304"/>
              <a:gd name="connsiteY22" fmla="*/ 5748622 h 6011862"/>
              <a:gd name="connsiteX23" fmla="*/ 4658268 w 5147304"/>
              <a:gd name="connsiteY23" fmla="*/ 5748622 h 6011862"/>
              <a:gd name="connsiteX24" fmla="*/ 4668682 w 5147304"/>
              <a:gd name="connsiteY24" fmla="*/ 5767200 h 6011862"/>
              <a:gd name="connsiteX25" fmla="*/ 4698081 w 5147304"/>
              <a:gd name="connsiteY25" fmla="*/ 5767200 h 6011862"/>
              <a:gd name="connsiteX26" fmla="*/ 4637447 w 5147304"/>
              <a:gd name="connsiteY26" fmla="*/ 5659200 h 6011862"/>
              <a:gd name="connsiteX27" fmla="*/ 4335598 w 5147304"/>
              <a:gd name="connsiteY27" fmla="*/ 5659200 h 6011862"/>
              <a:gd name="connsiteX28" fmla="*/ 4335598 w 5147304"/>
              <a:gd name="connsiteY28" fmla="*/ 5767200 h 6011862"/>
              <a:gd name="connsiteX29" fmla="*/ 4426041 w 5147304"/>
              <a:gd name="connsiteY29" fmla="*/ 5767200 h 6011862"/>
              <a:gd name="connsiteX30" fmla="*/ 4468504 w 5147304"/>
              <a:gd name="connsiteY30" fmla="*/ 5725960 h 6011862"/>
              <a:gd name="connsiteX31" fmla="*/ 4468504 w 5147304"/>
              <a:gd name="connsiteY31" fmla="*/ 5700440 h 6011862"/>
              <a:gd name="connsiteX32" fmla="*/ 4426041 w 5147304"/>
              <a:gd name="connsiteY32" fmla="*/ 5659200 h 6011862"/>
              <a:gd name="connsiteX33" fmla="*/ 4145846 w 5147304"/>
              <a:gd name="connsiteY33" fmla="*/ 5659200 h 6011862"/>
              <a:gd name="connsiteX34" fmla="*/ 4104606 w 5147304"/>
              <a:gd name="connsiteY34" fmla="*/ 5699419 h 6011862"/>
              <a:gd name="connsiteX35" fmla="*/ 4104606 w 5147304"/>
              <a:gd name="connsiteY35" fmla="*/ 5726981 h 6011862"/>
              <a:gd name="connsiteX36" fmla="*/ 4145846 w 5147304"/>
              <a:gd name="connsiteY36" fmla="*/ 5767200 h 6011862"/>
              <a:gd name="connsiteX37" fmla="*/ 4201173 w 5147304"/>
              <a:gd name="connsiteY37" fmla="*/ 5767200 h 6011862"/>
              <a:gd name="connsiteX38" fmla="*/ 4242414 w 5147304"/>
              <a:gd name="connsiteY38" fmla="*/ 5726981 h 6011862"/>
              <a:gd name="connsiteX39" fmla="*/ 4242414 w 5147304"/>
              <a:gd name="connsiteY39" fmla="*/ 5699419 h 6011862"/>
              <a:gd name="connsiteX40" fmla="*/ 4201173 w 5147304"/>
              <a:gd name="connsiteY40" fmla="*/ 5659200 h 6011862"/>
              <a:gd name="connsiteX41" fmla="*/ 3902818 w 5147304"/>
              <a:gd name="connsiteY41" fmla="*/ 5659200 h 6011862"/>
              <a:gd name="connsiteX42" fmla="*/ 3902818 w 5147304"/>
              <a:gd name="connsiteY42" fmla="*/ 5767200 h 6011862"/>
              <a:gd name="connsiteX43" fmla="*/ 3928543 w 5147304"/>
              <a:gd name="connsiteY43" fmla="*/ 5767200 h 6011862"/>
              <a:gd name="connsiteX44" fmla="*/ 3928543 w 5147304"/>
              <a:gd name="connsiteY44" fmla="*/ 5724531 h 6011862"/>
              <a:gd name="connsiteX45" fmla="*/ 3961617 w 5147304"/>
              <a:gd name="connsiteY45" fmla="*/ 5724531 h 6011862"/>
              <a:gd name="connsiteX46" fmla="*/ 4005919 w 5147304"/>
              <a:gd name="connsiteY46" fmla="*/ 5767200 h 6011862"/>
              <a:gd name="connsiteX47" fmla="*/ 4042055 w 5147304"/>
              <a:gd name="connsiteY47" fmla="*/ 5767200 h 6011862"/>
              <a:gd name="connsiteX48" fmla="*/ 3984686 w 5147304"/>
              <a:gd name="connsiteY48" fmla="*/ 5712894 h 6011862"/>
              <a:gd name="connsiteX49" fmla="*/ 4041035 w 5147304"/>
              <a:gd name="connsiteY49" fmla="*/ 5659200 h 6011862"/>
              <a:gd name="connsiteX50" fmla="*/ 4006940 w 5147304"/>
              <a:gd name="connsiteY50" fmla="*/ 5659200 h 6011862"/>
              <a:gd name="connsiteX51" fmla="*/ 3962637 w 5147304"/>
              <a:gd name="connsiteY51" fmla="*/ 5701257 h 6011862"/>
              <a:gd name="connsiteX52" fmla="*/ 3928543 w 5147304"/>
              <a:gd name="connsiteY52" fmla="*/ 5701257 h 6011862"/>
              <a:gd name="connsiteX53" fmla="*/ 3928543 w 5147304"/>
              <a:gd name="connsiteY53" fmla="*/ 5659200 h 6011862"/>
              <a:gd name="connsiteX54" fmla="*/ 3734218 w 5147304"/>
              <a:gd name="connsiteY54" fmla="*/ 5659200 h 6011862"/>
              <a:gd name="connsiteX55" fmla="*/ 3748918 w 5147304"/>
              <a:gd name="connsiteY55" fmla="*/ 5681657 h 6011862"/>
              <a:gd name="connsiteX56" fmla="*/ 3808737 w 5147304"/>
              <a:gd name="connsiteY56" fmla="*/ 5681657 h 6011862"/>
              <a:gd name="connsiteX57" fmla="*/ 3823028 w 5147304"/>
              <a:gd name="connsiteY57" fmla="*/ 5659200 h 6011862"/>
              <a:gd name="connsiteX58" fmla="*/ 3721969 w 5147304"/>
              <a:gd name="connsiteY58" fmla="*/ 5659200 h 6011862"/>
              <a:gd name="connsiteX59" fmla="*/ 3698286 w 5147304"/>
              <a:gd name="connsiteY59" fmla="*/ 5684107 h 6011862"/>
              <a:gd name="connsiteX60" fmla="*/ 3698286 w 5147304"/>
              <a:gd name="connsiteY60" fmla="*/ 5693090 h 6011862"/>
              <a:gd name="connsiteX61" fmla="*/ 3728910 w 5147304"/>
              <a:gd name="connsiteY61" fmla="*/ 5723306 h 6011862"/>
              <a:gd name="connsiteX62" fmla="*/ 3800162 w 5147304"/>
              <a:gd name="connsiteY62" fmla="*/ 5723306 h 6011862"/>
              <a:gd name="connsiteX63" fmla="*/ 3800162 w 5147304"/>
              <a:gd name="connsiteY63" fmla="*/ 5736576 h 6011862"/>
              <a:gd name="connsiteX64" fmla="*/ 3792404 w 5147304"/>
              <a:gd name="connsiteY64" fmla="*/ 5744334 h 6011862"/>
              <a:gd name="connsiteX65" fmla="*/ 3709515 w 5147304"/>
              <a:gd name="connsiteY65" fmla="*/ 5744334 h 6011862"/>
              <a:gd name="connsiteX66" fmla="*/ 3695224 w 5147304"/>
              <a:gd name="connsiteY66" fmla="*/ 5767200 h 6011862"/>
              <a:gd name="connsiteX67" fmla="*/ 3794854 w 5147304"/>
              <a:gd name="connsiteY67" fmla="*/ 5767200 h 6011862"/>
              <a:gd name="connsiteX68" fmla="*/ 3825477 w 5147304"/>
              <a:gd name="connsiteY68" fmla="*/ 5736985 h 6011862"/>
              <a:gd name="connsiteX69" fmla="*/ 3825477 w 5147304"/>
              <a:gd name="connsiteY69" fmla="*/ 5725143 h 6011862"/>
              <a:gd name="connsiteX70" fmla="*/ 3800366 w 5147304"/>
              <a:gd name="connsiteY70" fmla="*/ 5700440 h 6011862"/>
              <a:gd name="connsiteX71" fmla="*/ 3731360 w 5147304"/>
              <a:gd name="connsiteY71" fmla="*/ 5700440 h 6011862"/>
              <a:gd name="connsiteX72" fmla="*/ 3723602 w 5147304"/>
              <a:gd name="connsiteY72" fmla="*/ 5692682 h 6011862"/>
              <a:gd name="connsiteX73" fmla="*/ 3723602 w 5147304"/>
              <a:gd name="connsiteY73" fmla="*/ 5659200 h 6011862"/>
              <a:gd name="connsiteX74" fmla="*/ 1583531 w 5147304"/>
              <a:gd name="connsiteY74" fmla="*/ 0 h 6011862"/>
              <a:gd name="connsiteX75" fmla="*/ 5147304 w 5147304"/>
              <a:gd name="connsiteY75" fmla="*/ 0 h 6011862"/>
              <a:gd name="connsiteX76" fmla="*/ 5147304 w 5147304"/>
              <a:gd name="connsiteY76" fmla="*/ 6011862 h 6011862"/>
              <a:gd name="connsiteX77" fmla="*/ 0 w 5147304"/>
              <a:gd name="connsiteY77" fmla="*/ 6011862 h 60118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</a:cxnLst>
            <a:rect l="l" t="t" r="r" b="b"/>
            <a:pathLst>
              <a:path w="5147304" h="6011862">
                <a:moveTo>
                  <a:pt x="4361322" y="5682474"/>
                </a:moveTo>
                <a:lnTo>
                  <a:pt x="4425429" y="5682474"/>
                </a:lnTo>
                <a:cubicBezTo>
                  <a:pt x="4436045" y="5682474"/>
                  <a:pt x="4442782" y="5689007"/>
                  <a:pt x="4442782" y="5699215"/>
                </a:cubicBezTo>
                <a:lnTo>
                  <a:pt x="4442782" y="5727185"/>
                </a:lnTo>
                <a:cubicBezTo>
                  <a:pt x="4442782" y="5737393"/>
                  <a:pt x="4436045" y="5743926"/>
                  <a:pt x="4425429" y="5743926"/>
                </a:cubicBezTo>
                <a:lnTo>
                  <a:pt x="4361322" y="5743926"/>
                </a:lnTo>
                <a:close/>
                <a:moveTo>
                  <a:pt x="4146459" y="5682474"/>
                </a:moveTo>
                <a:lnTo>
                  <a:pt x="4200561" y="5682474"/>
                </a:lnTo>
                <a:cubicBezTo>
                  <a:pt x="4210360" y="5682474"/>
                  <a:pt x="4216690" y="5688599"/>
                  <a:pt x="4216690" y="5698194"/>
                </a:cubicBezTo>
                <a:lnTo>
                  <a:pt x="4216690" y="5728206"/>
                </a:lnTo>
                <a:cubicBezTo>
                  <a:pt x="4216690" y="5737801"/>
                  <a:pt x="4210361" y="5743926"/>
                  <a:pt x="4200561" y="5743926"/>
                </a:cubicBezTo>
                <a:lnTo>
                  <a:pt x="4146459" y="5743926"/>
                </a:lnTo>
                <a:cubicBezTo>
                  <a:pt x="4136659" y="5743926"/>
                  <a:pt x="4130330" y="5737801"/>
                  <a:pt x="4130330" y="5728206"/>
                </a:cubicBezTo>
                <a:lnTo>
                  <a:pt x="4130330" y="5698194"/>
                </a:lnTo>
                <a:cubicBezTo>
                  <a:pt x="4130330" y="5688599"/>
                  <a:pt x="4136659" y="5682474"/>
                  <a:pt x="4146459" y="5682474"/>
                </a:cubicBezTo>
                <a:close/>
                <a:moveTo>
                  <a:pt x="4619272" y="5679412"/>
                </a:moveTo>
                <a:lnTo>
                  <a:pt x="4645207" y="5725347"/>
                </a:lnTo>
                <a:lnTo>
                  <a:pt x="4593344" y="5725347"/>
                </a:lnTo>
                <a:close/>
                <a:moveTo>
                  <a:pt x="4601714" y="5659200"/>
                </a:moveTo>
                <a:lnTo>
                  <a:pt x="4541080" y="5767200"/>
                </a:lnTo>
                <a:lnTo>
                  <a:pt x="4569870" y="5767200"/>
                </a:lnTo>
                <a:lnTo>
                  <a:pt x="4592735" y="5726572"/>
                </a:lnTo>
                <a:lnTo>
                  <a:pt x="4606620" y="5748622"/>
                </a:lnTo>
                <a:lnTo>
                  <a:pt x="4658268" y="5748622"/>
                </a:lnTo>
                <a:lnTo>
                  <a:pt x="4668682" y="5767200"/>
                </a:lnTo>
                <a:lnTo>
                  <a:pt x="4698081" y="5767200"/>
                </a:lnTo>
                <a:lnTo>
                  <a:pt x="4637447" y="5659200"/>
                </a:lnTo>
                <a:close/>
                <a:moveTo>
                  <a:pt x="4335598" y="5659200"/>
                </a:moveTo>
                <a:lnTo>
                  <a:pt x="4335598" y="5767200"/>
                </a:lnTo>
                <a:lnTo>
                  <a:pt x="4426041" y="5767200"/>
                </a:lnTo>
                <a:cubicBezTo>
                  <a:pt x="4452990" y="5767200"/>
                  <a:pt x="4468504" y="5751684"/>
                  <a:pt x="4468504" y="5725960"/>
                </a:cubicBezTo>
                <a:lnTo>
                  <a:pt x="4468504" y="5700440"/>
                </a:lnTo>
                <a:cubicBezTo>
                  <a:pt x="4468504" y="5674716"/>
                  <a:pt x="4452990" y="5659200"/>
                  <a:pt x="4426041" y="5659200"/>
                </a:cubicBezTo>
                <a:close/>
                <a:moveTo>
                  <a:pt x="4145846" y="5659200"/>
                </a:moveTo>
                <a:cubicBezTo>
                  <a:pt x="4119713" y="5659200"/>
                  <a:pt x="4104606" y="5674308"/>
                  <a:pt x="4104606" y="5699419"/>
                </a:cubicBezTo>
                <a:lnTo>
                  <a:pt x="4104606" y="5726981"/>
                </a:lnTo>
                <a:cubicBezTo>
                  <a:pt x="4104606" y="5752092"/>
                  <a:pt x="4119713" y="5767200"/>
                  <a:pt x="4145846" y="5767200"/>
                </a:cubicBezTo>
                <a:lnTo>
                  <a:pt x="4201173" y="5767200"/>
                </a:lnTo>
                <a:cubicBezTo>
                  <a:pt x="4227305" y="5767200"/>
                  <a:pt x="4242414" y="5752092"/>
                  <a:pt x="4242414" y="5726981"/>
                </a:cubicBezTo>
                <a:lnTo>
                  <a:pt x="4242414" y="5699419"/>
                </a:lnTo>
                <a:cubicBezTo>
                  <a:pt x="4242414" y="5674308"/>
                  <a:pt x="4227306" y="5659200"/>
                  <a:pt x="4201173" y="5659200"/>
                </a:cubicBezTo>
                <a:close/>
                <a:moveTo>
                  <a:pt x="3902818" y="5659200"/>
                </a:moveTo>
                <a:lnTo>
                  <a:pt x="3902818" y="5767200"/>
                </a:lnTo>
                <a:lnTo>
                  <a:pt x="3928543" y="5767200"/>
                </a:lnTo>
                <a:lnTo>
                  <a:pt x="3928543" y="5724531"/>
                </a:lnTo>
                <a:lnTo>
                  <a:pt x="3961617" y="5724531"/>
                </a:lnTo>
                <a:lnTo>
                  <a:pt x="4005919" y="5767200"/>
                </a:lnTo>
                <a:lnTo>
                  <a:pt x="4042055" y="5767200"/>
                </a:lnTo>
                <a:lnTo>
                  <a:pt x="3984686" y="5712894"/>
                </a:lnTo>
                <a:lnTo>
                  <a:pt x="4041035" y="5659200"/>
                </a:lnTo>
                <a:lnTo>
                  <a:pt x="4006940" y="5659200"/>
                </a:lnTo>
                <a:lnTo>
                  <a:pt x="3962637" y="5701257"/>
                </a:lnTo>
                <a:lnTo>
                  <a:pt x="3928543" y="5701257"/>
                </a:lnTo>
                <a:lnTo>
                  <a:pt x="3928543" y="5659200"/>
                </a:lnTo>
                <a:close/>
                <a:moveTo>
                  <a:pt x="3734218" y="5659200"/>
                </a:moveTo>
                <a:lnTo>
                  <a:pt x="3748918" y="5681657"/>
                </a:lnTo>
                <a:lnTo>
                  <a:pt x="3808737" y="5681657"/>
                </a:lnTo>
                <a:lnTo>
                  <a:pt x="3823028" y="5659200"/>
                </a:lnTo>
                <a:close/>
                <a:moveTo>
                  <a:pt x="3721969" y="5659200"/>
                </a:moveTo>
                <a:cubicBezTo>
                  <a:pt x="3707474" y="5659200"/>
                  <a:pt x="3698286" y="5668591"/>
                  <a:pt x="3698286" y="5684107"/>
                </a:cubicBezTo>
                <a:lnTo>
                  <a:pt x="3698286" y="5693090"/>
                </a:lnTo>
                <a:cubicBezTo>
                  <a:pt x="3698286" y="5713915"/>
                  <a:pt x="3707678" y="5723306"/>
                  <a:pt x="3728910" y="5723306"/>
                </a:cubicBezTo>
                <a:lnTo>
                  <a:pt x="3800162" y="5723306"/>
                </a:lnTo>
                <a:lnTo>
                  <a:pt x="3800162" y="5736576"/>
                </a:lnTo>
                <a:cubicBezTo>
                  <a:pt x="3800162" y="5741272"/>
                  <a:pt x="3797100" y="5744334"/>
                  <a:pt x="3792404" y="5744334"/>
                </a:cubicBezTo>
                <a:lnTo>
                  <a:pt x="3709515" y="5744334"/>
                </a:lnTo>
                <a:lnTo>
                  <a:pt x="3695224" y="5767200"/>
                </a:lnTo>
                <a:lnTo>
                  <a:pt x="3794854" y="5767200"/>
                </a:lnTo>
                <a:cubicBezTo>
                  <a:pt x="3815474" y="5767200"/>
                  <a:pt x="3825477" y="5757196"/>
                  <a:pt x="3825477" y="5736985"/>
                </a:cubicBezTo>
                <a:lnTo>
                  <a:pt x="3825477" y="5725143"/>
                </a:lnTo>
                <a:cubicBezTo>
                  <a:pt x="3825477" y="5709831"/>
                  <a:pt x="3816086" y="5700440"/>
                  <a:pt x="3800366" y="5700440"/>
                </a:cubicBezTo>
                <a:lnTo>
                  <a:pt x="3731360" y="5700440"/>
                </a:lnTo>
                <a:cubicBezTo>
                  <a:pt x="3726665" y="5700440"/>
                  <a:pt x="3723602" y="5697378"/>
                  <a:pt x="3723602" y="5692682"/>
                </a:cubicBezTo>
                <a:lnTo>
                  <a:pt x="3723602" y="5659200"/>
                </a:lnTo>
                <a:close/>
                <a:moveTo>
                  <a:pt x="1583531" y="0"/>
                </a:moveTo>
                <a:lnTo>
                  <a:pt x="5147304" y="0"/>
                </a:lnTo>
                <a:lnTo>
                  <a:pt x="5147304" y="6011862"/>
                </a:lnTo>
                <a:lnTo>
                  <a:pt x="0" y="6011862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algn="ctr">
              <a:buFontTx/>
              <a:buNone/>
              <a:defRPr>
                <a:solidFill>
                  <a:schemeClr val="accent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Obrázek</a:t>
            </a:r>
          </a:p>
        </p:txBody>
      </p: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264"/>
          <a:ext cx="1587" cy="12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9" imgH="398" progId="TCLayout.ActiveDocument.1">
                  <p:embed/>
                </p:oleObj>
              </mc:Choice>
              <mc:Fallback>
                <p:oleObj name="think-cell Slide" r:id="rId5" imgW="399" imgH="398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264"/>
                        <a:ext cx="1587" cy="12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 userDrawn="1">
            <p:ph type="title" hasCustomPrompt="1"/>
          </p:nvPr>
        </p:nvSpPr>
        <p:spPr>
          <a:xfrm>
            <a:off x="449263" y="1314450"/>
            <a:ext cx="4968875" cy="2520000"/>
          </a:xfrm>
        </p:spPr>
        <p:txBody>
          <a:bodyPr anchor="t" anchorCtr="0">
            <a:normAutofit/>
          </a:bodyPr>
          <a:lstStyle>
            <a:lvl1pPr>
              <a:lnSpc>
                <a:spcPts val="4000"/>
              </a:lnSpc>
              <a:defRPr sz="4000" b="0" cap="none" baseline="0">
                <a:solidFill>
                  <a:schemeClr val="accent1"/>
                </a:solidFill>
                <a:latin typeface="SKODA Next Light" panose="020B0304020603020204" pitchFamily="34" charset="0"/>
              </a:defRPr>
            </a:lvl1pPr>
          </a:lstStyle>
          <a:p>
            <a:r>
              <a:rPr lang="cs-CZ" noProof="0"/>
              <a:t>Citát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A95BF692-E6D8-7522-3939-8E0A92A62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46000" y="5598000"/>
            <a:ext cx="7289813" cy="18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S15 | 08.06.2023 | Future city tech | VTO | Miroslav Holan</a:t>
            </a:r>
            <a:endParaRPr lang="cs-CZ" noProof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63C25813-455F-091C-F4E2-B3972C902DC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4D773F9-8A50-B2D5-3B6A-3C8C10261F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4014000"/>
            <a:ext cx="4968000" cy="1332000"/>
          </a:xfrm>
        </p:spPr>
        <p:txBody>
          <a:bodyPr vert="horz" lIns="0" tIns="0" rIns="0" bIns="0" rtlCol="0" anchor="t" anchorCtr="0">
            <a:normAutofit/>
          </a:bodyPr>
          <a:lstStyle>
            <a:lvl1pPr marL="0" indent="0">
              <a:buNone/>
              <a:defRPr lang="en-US" b="0" cap="none" baseline="0" dirty="0" smtClean="0">
                <a:solidFill>
                  <a:schemeClr val="accent1"/>
                </a:solidFill>
              </a:defRPr>
            </a:lvl1pPr>
            <a:lvl2pPr>
              <a:defRPr lang="en-US" sz="2100" dirty="0" smtClean="0">
                <a:latin typeface="+mn-lt"/>
                <a:ea typeface="+mn-ea"/>
                <a:cs typeface="+mn-cs"/>
              </a:defRPr>
            </a:lvl2pPr>
            <a:lvl3pPr>
              <a:defRPr lang="en-US" sz="2100" dirty="0" smtClean="0">
                <a:latin typeface="+mn-lt"/>
                <a:ea typeface="+mn-ea"/>
                <a:cs typeface="+mn-cs"/>
              </a:defRPr>
            </a:lvl3pPr>
            <a:lvl4pPr>
              <a:defRPr lang="en-US" sz="2100" dirty="0" smtClean="0">
                <a:latin typeface="+mn-lt"/>
                <a:ea typeface="+mn-ea"/>
                <a:cs typeface="+mn-cs"/>
              </a:defRPr>
            </a:lvl4pPr>
            <a:lvl5pPr marL="1905487" indent="0">
              <a:buNone/>
              <a:defRPr lang="en-GB" sz="2100" dirty="0">
                <a:latin typeface="+mn-lt"/>
                <a:ea typeface="+mn-ea"/>
                <a:cs typeface="+mn-cs"/>
              </a:defRPr>
            </a:lvl5pPr>
          </a:lstStyle>
          <a:p>
            <a:pPr marL="105750" lvl="0" indent="-285750">
              <a:lnSpc>
                <a:spcPts val="1600"/>
              </a:lnSpc>
              <a:spcBef>
                <a:spcPct val="0"/>
              </a:spcBef>
            </a:pPr>
            <a:r>
              <a:rPr lang="cs-CZ" noProof="0"/>
              <a:t>Škoda Auto</a:t>
            </a:r>
          </a:p>
        </p:txBody>
      </p:sp>
    </p:spTree>
    <p:extLst>
      <p:ext uri="{BB962C8B-B14F-4D97-AF65-F5344CB8AC3E}">
        <p14:creationId xmlns:p14="http://schemas.microsoft.com/office/powerpoint/2010/main" val="24770247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BFF7A7E-2F88-BCC5-C055-008483D90682}"/>
              </a:ext>
            </a:extLst>
          </p:cNvPr>
          <p:cNvSpPr/>
          <p:nvPr userDrawn="1"/>
        </p:nvSpPr>
        <p:spPr>
          <a:xfrm>
            <a:off x="0" y="0"/>
            <a:ext cx="5220000" cy="1404000"/>
          </a:xfrm>
          <a:custGeom>
            <a:avLst/>
            <a:gdLst>
              <a:gd name="connsiteX0" fmla="*/ 0 w 5220000"/>
              <a:gd name="connsiteY0" fmla="*/ 0 h 1404000"/>
              <a:gd name="connsiteX1" fmla="*/ 5220000 w 5220000"/>
              <a:gd name="connsiteY1" fmla="*/ 0 h 1404000"/>
              <a:gd name="connsiteX2" fmla="*/ 5220000 w 5220000"/>
              <a:gd name="connsiteY2" fmla="*/ 1404000 h 1404000"/>
              <a:gd name="connsiteX3" fmla="*/ 0 w 5220000"/>
              <a:gd name="connsiteY3" fmla="*/ 1404000 h 1404000"/>
              <a:gd name="connsiteX4" fmla="*/ 0 w 5220000"/>
              <a:gd name="connsiteY4" fmla="*/ 0 h 1404000"/>
              <a:gd name="connsiteX0" fmla="*/ 0 w 5220000"/>
              <a:gd name="connsiteY0" fmla="*/ 0 h 1404000"/>
              <a:gd name="connsiteX1" fmla="*/ 5220000 w 5220000"/>
              <a:gd name="connsiteY1" fmla="*/ 0 h 1404000"/>
              <a:gd name="connsiteX2" fmla="*/ 5220000 w 5220000"/>
              <a:gd name="connsiteY2" fmla="*/ 1404000 h 1404000"/>
              <a:gd name="connsiteX3" fmla="*/ 0 w 5220000"/>
              <a:gd name="connsiteY3" fmla="*/ 1404000 h 1404000"/>
              <a:gd name="connsiteX4" fmla="*/ 0 w 5220000"/>
              <a:gd name="connsiteY4" fmla="*/ 0 h 1404000"/>
              <a:gd name="connsiteX0" fmla="*/ 0 w 5220000"/>
              <a:gd name="connsiteY0" fmla="*/ 0 h 1404000"/>
              <a:gd name="connsiteX1" fmla="*/ 5220000 w 5220000"/>
              <a:gd name="connsiteY1" fmla="*/ 0 h 1404000"/>
              <a:gd name="connsiteX2" fmla="*/ 0 w 5220000"/>
              <a:gd name="connsiteY2" fmla="*/ 1404000 h 1404000"/>
              <a:gd name="connsiteX3" fmla="*/ 0 w 5220000"/>
              <a:gd name="connsiteY3" fmla="*/ 0 h 140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20000" h="1404000">
                <a:moveTo>
                  <a:pt x="0" y="0"/>
                </a:moveTo>
                <a:lnTo>
                  <a:pt x="5220000" y="0"/>
                </a:lnTo>
                <a:lnTo>
                  <a:pt x="0" y="1404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noProof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CBDC93D-8677-8F98-0413-5586CAD9ECEE}"/>
              </a:ext>
            </a:extLst>
          </p:cNvPr>
          <p:cNvSpPr/>
          <p:nvPr userDrawn="1"/>
        </p:nvSpPr>
        <p:spPr>
          <a:xfrm>
            <a:off x="8136000" y="0"/>
            <a:ext cx="2556000" cy="6011863"/>
          </a:xfrm>
          <a:custGeom>
            <a:avLst/>
            <a:gdLst>
              <a:gd name="connsiteX0" fmla="*/ 0 w 2556000"/>
              <a:gd name="connsiteY0" fmla="*/ 0 h 6011863"/>
              <a:gd name="connsiteX1" fmla="*/ 2556000 w 2556000"/>
              <a:gd name="connsiteY1" fmla="*/ 0 h 6011863"/>
              <a:gd name="connsiteX2" fmla="*/ 2556000 w 2556000"/>
              <a:gd name="connsiteY2" fmla="*/ 6011863 h 6011863"/>
              <a:gd name="connsiteX3" fmla="*/ 0 w 2556000"/>
              <a:gd name="connsiteY3" fmla="*/ 6011863 h 6011863"/>
              <a:gd name="connsiteX4" fmla="*/ 0 w 2556000"/>
              <a:gd name="connsiteY4" fmla="*/ 0 h 6011863"/>
              <a:gd name="connsiteX0" fmla="*/ 1600200 w 2556000"/>
              <a:gd name="connsiteY0" fmla="*/ 0 h 6011863"/>
              <a:gd name="connsiteX1" fmla="*/ 2556000 w 2556000"/>
              <a:gd name="connsiteY1" fmla="*/ 0 h 6011863"/>
              <a:gd name="connsiteX2" fmla="*/ 2556000 w 2556000"/>
              <a:gd name="connsiteY2" fmla="*/ 6011863 h 6011863"/>
              <a:gd name="connsiteX3" fmla="*/ 0 w 2556000"/>
              <a:gd name="connsiteY3" fmla="*/ 6011863 h 6011863"/>
              <a:gd name="connsiteX4" fmla="*/ 1600200 w 2556000"/>
              <a:gd name="connsiteY4" fmla="*/ 0 h 6011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56000" h="6011863">
                <a:moveTo>
                  <a:pt x="1600200" y="0"/>
                </a:moveTo>
                <a:lnTo>
                  <a:pt x="2556000" y="0"/>
                </a:lnTo>
                <a:lnTo>
                  <a:pt x="2556000" y="6011863"/>
                </a:lnTo>
                <a:lnTo>
                  <a:pt x="0" y="6011863"/>
                </a:lnTo>
                <a:lnTo>
                  <a:pt x="1600200" y="0"/>
                </a:lnTo>
                <a:close/>
              </a:path>
            </a:pathLst>
          </a:cu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noProof="0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7DFEA1C-1F23-DFFF-0231-E470B22692F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41200" y="5659200"/>
            <a:ext cx="1002857" cy="108000"/>
          </a:xfrm>
          <a:prstGeom prst="rect">
            <a:avLst/>
          </a:prstGeom>
        </p:spPr>
      </p:pic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264"/>
          <a:ext cx="1587" cy="12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9" imgH="398" progId="TCLayout.ActiveDocument.1">
                  <p:embed/>
                </p:oleObj>
              </mc:Choice>
              <mc:Fallback>
                <p:oleObj name="think-cell Slide" r:id="rId5" imgW="399" imgH="398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264"/>
                        <a:ext cx="1587" cy="12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 userDrawn="1">
            <p:ph type="title" hasCustomPrompt="1"/>
          </p:nvPr>
        </p:nvSpPr>
        <p:spPr>
          <a:xfrm>
            <a:off x="449263" y="1926000"/>
            <a:ext cx="7686550" cy="3420000"/>
          </a:xfrm>
        </p:spPr>
        <p:txBody>
          <a:bodyPr anchor="t" anchorCtr="0">
            <a:noAutofit/>
          </a:bodyPr>
          <a:lstStyle>
            <a:lvl1pPr>
              <a:lnSpc>
                <a:spcPts val="8000"/>
              </a:lnSpc>
              <a:defRPr sz="8000" b="0" cap="none" baseline="0">
                <a:solidFill>
                  <a:schemeClr val="accent1"/>
                </a:solidFill>
                <a:latin typeface="SKODA Next Light" panose="020B0304020603020204" pitchFamily="34" charset="0"/>
              </a:defRPr>
            </a:lvl1pPr>
          </a:lstStyle>
          <a:p>
            <a:r>
              <a:rPr lang="cs-CZ" noProof="0"/>
              <a:t>Děkuji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A95BF692-E6D8-7522-3939-8E0A92A62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46000" y="5598000"/>
            <a:ext cx="7289813" cy="18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S15 | 08.06.2023 | Future city tech | VTO | Miroslav Holan</a:t>
            </a:r>
            <a:endParaRPr lang="cs-CZ" noProof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63C25813-455F-091C-F4E2-B3972C902DC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</p:spTree>
    <p:extLst>
      <p:ext uri="{BB962C8B-B14F-4D97-AF65-F5344CB8AC3E}">
        <p14:creationId xmlns:p14="http://schemas.microsoft.com/office/powerpoint/2010/main" val="218752403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BFF7A7E-2F88-BCC5-C055-008483D90682}"/>
              </a:ext>
            </a:extLst>
          </p:cNvPr>
          <p:cNvSpPr/>
          <p:nvPr userDrawn="1"/>
        </p:nvSpPr>
        <p:spPr>
          <a:xfrm>
            <a:off x="0" y="0"/>
            <a:ext cx="5220000" cy="1404000"/>
          </a:xfrm>
          <a:custGeom>
            <a:avLst/>
            <a:gdLst>
              <a:gd name="connsiteX0" fmla="*/ 0 w 5220000"/>
              <a:gd name="connsiteY0" fmla="*/ 0 h 1404000"/>
              <a:gd name="connsiteX1" fmla="*/ 5220000 w 5220000"/>
              <a:gd name="connsiteY1" fmla="*/ 0 h 1404000"/>
              <a:gd name="connsiteX2" fmla="*/ 5220000 w 5220000"/>
              <a:gd name="connsiteY2" fmla="*/ 1404000 h 1404000"/>
              <a:gd name="connsiteX3" fmla="*/ 0 w 5220000"/>
              <a:gd name="connsiteY3" fmla="*/ 1404000 h 1404000"/>
              <a:gd name="connsiteX4" fmla="*/ 0 w 5220000"/>
              <a:gd name="connsiteY4" fmla="*/ 0 h 1404000"/>
              <a:gd name="connsiteX0" fmla="*/ 0 w 5220000"/>
              <a:gd name="connsiteY0" fmla="*/ 0 h 1404000"/>
              <a:gd name="connsiteX1" fmla="*/ 5220000 w 5220000"/>
              <a:gd name="connsiteY1" fmla="*/ 0 h 1404000"/>
              <a:gd name="connsiteX2" fmla="*/ 5220000 w 5220000"/>
              <a:gd name="connsiteY2" fmla="*/ 1404000 h 1404000"/>
              <a:gd name="connsiteX3" fmla="*/ 0 w 5220000"/>
              <a:gd name="connsiteY3" fmla="*/ 1404000 h 1404000"/>
              <a:gd name="connsiteX4" fmla="*/ 0 w 5220000"/>
              <a:gd name="connsiteY4" fmla="*/ 0 h 1404000"/>
              <a:gd name="connsiteX0" fmla="*/ 0 w 5220000"/>
              <a:gd name="connsiteY0" fmla="*/ 0 h 1404000"/>
              <a:gd name="connsiteX1" fmla="*/ 5220000 w 5220000"/>
              <a:gd name="connsiteY1" fmla="*/ 0 h 1404000"/>
              <a:gd name="connsiteX2" fmla="*/ 0 w 5220000"/>
              <a:gd name="connsiteY2" fmla="*/ 1404000 h 1404000"/>
              <a:gd name="connsiteX3" fmla="*/ 0 w 5220000"/>
              <a:gd name="connsiteY3" fmla="*/ 0 h 140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20000" h="1404000">
                <a:moveTo>
                  <a:pt x="0" y="0"/>
                </a:moveTo>
                <a:lnTo>
                  <a:pt x="5220000" y="0"/>
                </a:lnTo>
                <a:lnTo>
                  <a:pt x="0" y="1404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noProof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CBDC93D-8677-8F98-0413-5586CAD9ECEE}"/>
              </a:ext>
            </a:extLst>
          </p:cNvPr>
          <p:cNvSpPr/>
          <p:nvPr userDrawn="1"/>
        </p:nvSpPr>
        <p:spPr>
          <a:xfrm>
            <a:off x="8136000" y="0"/>
            <a:ext cx="2556000" cy="6011863"/>
          </a:xfrm>
          <a:custGeom>
            <a:avLst/>
            <a:gdLst>
              <a:gd name="connsiteX0" fmla="*/ 0 w 2556000"/>
              <a:gd name="connsiteY0" fmla="*/ 0 h 6011863"/>
              <a:gd name="connsiteX1" fmla="*/ 2556000 w 2556000"/>
              <a:gd name="connsiteY1" fmla="*/ 0 h 6011863"/>
              <a:gd name="connsiteX2" fmla="*/ 2556000 w 2556000"/>
              <a:gd name="connsiteY2" fmla="*/ 6011863 h 6011863"/>
              <a:gd name="connsiteX3" fmla="*/ 0 w 2556000"/>
              <a:gd name="connsiteY3" fmla="*/ 6011863 h 6011863"/>
              <a:gd name="connsiteX4" fmla="*/ 0 w 2556000"/>
              <a:gd name="connsiteY4" fmla="*/ 0 h 6011863"/>
              <a:gd name="connsiteX0" fmla="*/ 1600200 w 2556000"/>
              <a:gd name="connsiteY0" fmla="*/ 0 h 6011863"/>
              <a:gd name="connsiteX1" fmla="*/ 2556000 w 2556000"/>
              <a:gd name="connsiteY1" fmla="*/ 0 h 6011863"/>
              <a:gd name="connsiteX2" fmla="*/ 2556000 w 2556000"/>
              <a:gd name="connsiteY2" fmla="*/ 6011863 h 6011863"/>
              <a:gd name="connsiteX3" fmla="*/ 0 w 2556000"/>
              <a:gd name="connsiteY3" fmla="*/ 6011863 h 6011863"/>
              <a:gd name="connsiteX4" fmla="*/ 1600200 w 2556000"/>
              <a:gd name="connsiteY4" fmla="*/ 0 h 6011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56000" h="6011863">
                <a:moveTo>
                  <a:pt x="1600200" y="0"/>
                </a:moveTo>
                <a:lnTo>
                  <a:pt x="2556000" y="0"/>
                </a:lnTo>
                <a:lnTo>
                  <a:pt x="2556000" y="6011863"/>
                </a:lnTo>
                <a:lnTo>
                  <a:pt x="0" y="6011863"/>
                </a:lnTo>
                <a:lnTo>
                  <a:pt x="1600200" y="0"/>
                </a:lnTo>
                <a:close/>
              </a:path>
            </a:pathLst>
          </a:cu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noProof="0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7DFEA1C-1F23-DFFF-0231-E470B22692F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41200" y="5659200"/>
            <a:ext cx="1002857" cy="108000"/>
          </a:xfrm>
          <a:prstGeom prst="rect">
            <a:avLst/>
          </a:prstGeom>
        </p:spPr>
      </p:pic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264"/>
          <a:ext cx="1587" cy="12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9" imgH="398" progId="TCLayout.ActiveDocument.1">
                  <p:embed/>
                </p:oleObj>
              </mc:Choice>
              <mc:Fallback>
                <p:oleObj name="think-cell Slide" r:id="rId5" imgW="399" imgH="398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264"/>
                        <a:ext cx="1587" cy="12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 userDrawn="1">
            <p:ph type="title" hasCustomPrompt="1"/>
          </p:nvPr>
        </p:nvSpPr>
        <p:spPr>
          <a:xfrm>
            <a:off x="449263" y="1926000"/>
            <a:ext cx="7686550" cy="3420000"/>
          </a:xfrm>
        </p:spPr>
        <p:txBody>
          <a:bodyPr anchor="t" anchorCtr="0">
            <a:noAutofit/>
          </a:bodyPr>
          <a:lstStyle>
            <a:lvl1pPr>
              <a:lnSpc>
                <a:spcPts val="8000"/>
              </a:lnSpc>
              <a:defRPr sz="8000" b="0" cap="none" baseline="0">
                <a:solidFill>
                  <a:schemeClr val="accent1"/>
                </a:solidFill>
                <a:latin typeface="SKODA Next Light" panose="020B0304020603020204" pitchFamily="34" charset="0"/>
              </a:defRPr>
            </a:lvl1pPr>
          </a:lstStyle>
          <a:p>
            <a:r>
              <a:rPr lang="cs-CZ" noProof="0"/>
              <a:t>Děkuji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A95BF692-E6D8-7522-3939-8E0A92A62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46000" y="5598000"/>
            <a:ext cx="7289813" cy="18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S15 | 08.06.2023 | Future city tech | VTO | Miroslav Holan</a:t>
            </a:r>
            <a:endParaRPr lang="cs-CZ" noProof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63C25813-455F-091C-F4E2-B3972C902DC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</p:spTree>
    <p:extLst>
      <p:ext uri="{BB962C8B-B14F-4D97-AF65-F5344CB8AC3E}">
        <p14:creationId xmlns:p14="http://schemas.microsoft.com/office/powerpoint/2010/main" val="347532292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4">
            <a:extLst>
              <a:ext uri="{FF2B5EF4-FFF2-40B4-BE49-F238E27FC236}">
                <a16:creationId xmlns:a16="http://schemas.microsoft.com/office/drawing/2014/main" id="{A2985358-9CAA-B6FA-88CF-228B2CA9D80F}"/>
              </a:ext>
            </a:extLst>
          </p:cNvPr>
          <p:cNvSpPr/>
          <p:nvPr userDrawn="1"/>
        </p:nvSpPr>
        <p:spPr>
          <a:xfrm>
            <a:off x="0" y="0"/>
            <a:ext cx="3762375" cy="1009650"/>
          </a:xfrm>
          <a:custGeom>
            <a:avLst/>
            <a:gdLst>
              <a:gd name="connsiteX0" fmla="*/ 0 w 5220000"/>
              <a:gd name="connsiteY0" fmla="*/ 0 h 1404000"/>
              <a:gd name="connsiteX1" fmla="*/ 5220000 w 5220000"/>
              <a:gd name="connsiteY1" fmla="*/ 0 h 1404000"/>
              <a:gd name="connsiteX2" fmla="*/ 5220000 w 5220000"/>
              <a:gd name="connsiteY2" fmla="*/ 1404000 h 1404000"/>
              <a:gd name="connsiteX3" fmla="*/ 0 w 5220000"/>
              <a:gd name="connsiteY3" fmla="*/ 1404000 h 1404000"/>
              <a:gd name="connsiteX4" fmla="*/ 0 w 5220000"/>
              <a:gd name="connsiteY4" fmla="*/ 0 h 1404000"/>
              <a:gd name="connsiteX0" fmla="*/ 0 w 5220000"/>
              <a:gd name="connsiteY0" fmla="*/ 0 h 1404000"/>
              <a:gd name="connsiteX1" fmla="*/ 5220000 w 5220000"/>
              <a:gd name="connsiteY1" fmla="*/ 0 h 1404000"/>
              <a:gd name="connsiteX2" fmla="*/ 5220000 w 5220000"/>
              <a:gd name="connsiteY2" fmla="*/ 1404000 h 1404000"/>
              <a:gd name="connsiteX3" fmla="*/ 0 w 5220000"/>
              <a:gd name="connsiteY3" fmla="*/ 1404000 h 1404000"/>
              <a:gd name="connsiteX4" fmla="*/ 0 w 5220000"/>
              <a:gd name="connsiteY4" fmla="*/ 0 h 1404000"/>
              <a:gd name="connsiteX0" fmla="*/ 0 w 5220000"/>
              <a:gd name="connsiteY0" fmla="*/ 0 h 1404000"/>
              <a:gd name="connsiteX1" fmla="*/ 5220000 w 5220000"/>
              <a:gd name="connsiteY1" fmla="*/ 0 h 1404000"/>
              <a:gd name="connsiteX2" fmla="*/ 0 w 5220000"/>
              <a:gd name="connsiteY2" fmla="*/ 1404000 h 1404000"/>
              <a:gd name="connsiteX3" fmla="*/ 0 w 5220000"/>
              <a:gd name="connsiteY3" fmla="*/ 0 h 140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20000" h="1404000">
                <a:moveTo>
                  <a:pt x="0" y="0"/>
                </a:moveTo>
                <a:lnTo>
                  <a:pt x="5220000" y="0"/>
                </a:lnTo>
                <a:lnTo>
                  <a:pt x="0" y="1404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B7243EA-87C5-1D89-7207-56A4E40BAA96}"/>
              </a:ext>
            </a:extLst>
          </p:cNvPr>
          <p:cNvSpPr/>
          <p:nvPr userDrawn="1"/>
        </p:nvSpPr>
        <p:spPr>
          <a:xfrm>
            <a:off x="5544000" y="0"/>
            <a:ext cx="5148000" cy="6011863"/>
          </a:xfrm>
          <a:custGeom>
            <a:avLst/>
            <a:gdLst>
              <a:gd name="connsiteX0" fmla="*/ 0 w 5148000"/>
              <a:gd name="connsiteY0" fmla="*/ 0 h 6011863"/>
              <a:gd name="connsiteX1" fmla="*/ 5148000 w 5148000"/>
              <a:gd name="connsiteY1" fmla="*/ 0 h 6011863"/>
              <a:gd name="connsiteX2" fmla="*/ 5148000 w 5148000"/>
              <a:gd name="connsiteY2" fmla="*/ 6011863 h 6011863"/>
              <a:gd name="connsiteX3" fmla="*/ 0 w 5148000"/>
              <a:gd name="connsiteY3" fmla="*/ 6011863 h 6011863"/>
              <a:gd name="connsiteX4" fmla="*/ 0 w 5148000"/>
              <a:gd name="connsiteY4" fmla="*/ 0 h 6011863"/>
              <a:gd name="connsiteX0" fmla="*/ 1609725 w 5148000"/>
              <a:gd name="connsiteY0" fmla="*/ 0 h 6011863"/>
              <a:gd name="connsiteX1" fmla="*/ 5148000 w 5148000"/>
              <a:gd name="connsiteY1" fmla="*/ 0 h 6011863"/>
              <a:gd name="connsiteX2" fmla="*/ 5148000 w 5148000"/>
              <a:gd name="connsiteY2" fmla="*/ 6011863 h 6011863"/>
              <a:gd name="connsiteX3" fmla="*/ 0 w 5148000"/>
              <a:gd name="connsiteY3" fmla="*/ 6011863 h 6011863"/>
              <a:gd name="connsiteX4" fmla="*/ 1609725 w 5148000"/>
              <a:gd name="connsiteY4" fmla="*/ 0 h 6011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48000" h="6011863">
                <a:moveTo>
                  <a:pt x="1609725" y="0"/>
                </a:moveTo>
                <a:lnTo>
                  <a:pt x="5148000" y="0"/>
                </a:lnTo>
                <a:lnTo>
                  <a:pt x="5148000" y="6011863"/>
                </a:lnTo>
                <a:lnTo>
                  <a:pt x="0" y="6011863"/>
                </a:lnTo>
                <a:lnTo>
                  <a:pt x="1609725" y="0"/>
                </a:lnTo>
                <a:close/>
              </a:path>
            </a:pathLst>
          </a:cu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4BD390AB-1E56-E27C-3435-30045855478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41200" y="5659200"/>
            <a:ext cx="1002857" cy="108000"/>
          </a:xfrm>
          <a:prstGeom prst="rect">
            <a:avLst/>
          </a:prstGeom>
        </p:spPr>
      </p:pic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264"/>
          <a:ext cx="1587" cy="12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9" imgH="398" progId="TCLayout.ActiveDocument.1">
                  <p:embed/>
                </p:oleObj>
              </mc:Choice>
              <mc:Fallback>
                <p:oleObj name="think-cell Slide" r:id="rId5" imgW="399" imgH="398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264"/>
                        <a:ext cx="1587" cy="12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 userDrawn="1">
            <p:ph type="title" hasCustomPrompt="1"/>
          </p:nvPr>
        </p:nvSpPr>
        <p:spPr>
          <a:xfrm>
            <a:off x="449263" y="1314450"/>
            <a:ext cx="5256000" cy="4031550"/>
          </a:xfrm>
        </p:spPr>
        <p:txBody>
          <a:bodyPr anchor="t" anchorCtr="0">
            <a:noAutofit/>
          </a:bodyPr>
          <a:lstStyle>
            <a:lvl1pPr>
              <a:lnSpc>
                <a:spcPts val="6000"/>
              </a:lnSpc>
              <a:defRPr sz="6000" b="0" cap="none" baseline="0">
                <a:solidFill>
                  <a:schemeClr val="accent1"/>
                </a:solidFill>
                <a:latin typeface="SKODA Next Light" panose="020B0304020603020204" pitchFamily="34" charset="0"/>
              </a:defRPr>
            </a:lvl1pPr>
          </a:lstStyle>
          <a:p>
            <a:r>
              <a:rPr lang="cs-CZ" noProof="0"/>
              <a:t>Děkuji</a:t>
            </a:r>
            <a:endParaRPr lang="cs-CZ" noProof="0" dirty="0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BD0962D-1E63-FEDE-6F59-D9BA7276969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434788" y="1314450"/>
            <a:ext cx="1152000" cy="1548000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chemeClr val="accent2"/>
                </a:solidFill>
              </a:defRPr>
            </a:lvl1pPr>
          </a:lstStyle>
          <a:p>
            <a:r>
              <a:rPr lang="cs-CZ"/>
              <a:t>Obrázek</a:t>
            </a:r>
            <a:endParaRPr lang="cs-CZ" dirty="0"/>
          </a:p>
        </p:txBody>
      </p:sp>
      <p:sp>
        <p:nvSpPr>
          <p:cNvPr id="18" name="Picture Placeholder 16">
            <a:extLst>
              <a:ext uri="{FF2B5EF4-FFF2-40B4-BE49-F238E27FC236}">
                <a16:creationId xmlns:a16="http://schemas.microsoft.com/office/drawing/2014/main" id="{A153B96D-10A9-DB89-FDE8-61ADD55197E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090550" y="1314450"/>
            <a:ext cx="1152000" cy="1548000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chemeClr val="accent2"/>
                </a:solidFill>
              </a:defRPr>
            </a:lvl1pPr>
          </a:lstStyle>
          <a:p>
            <a:r>
              <a:rPr lang="cs-CZ"/>
              <a:t>Obrázek</a:t>
            </a:r>
            <a:endParaRPr lang="cs-CZ" dirty="0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EE0344C5-D699-2FB3-554F-5651999873C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434787" y="2970000"/>
            <a:ext cx="1152001" cy="14400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9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cs-CZ" noProof="1"/>
              <a:t>Jméno Příjmení</a:t>
            </a:r>
          </a:p>
        </p:txBody>
      </p:sp>
      <p:sp>
        <p:nvSpPr>
          <p:cNvPr id="21" name="Text Placeholder 19">
            <a:extLst>
              <a:ext uri="{FF2B5EF4-FFF2-40B4-BE49-F238E27FC236}">
                <a16:creationId xmlns:a16="http://schemas.microsoft.com/office/drawing/2014/main" id="{2EF5C1AF-6DA5-ED65-5351-59EBC96FD06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434786" y="3112875"/>
            <a:ext cx="1152001" cy="14400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900">
                <a:solidFill>
                  <a:schemeClr val="accent2"/>
                </a:solidFill>
              </a:defRPr>
            </a:lvl1pPr>
          </a:lstStyle>
          <a:p>
            <a:pPr lvl="0"/>
            <a:r>
              <a:rPr lang="cs-CZ" noProof="1"/>
              <a:t>Pozice</a:t>
            </a:r>
          </a:p>
        </p:txBody>
      </p:sp>
      <p:sp>
        <p:nvSpPr>
          <p:cNvPr id="22" name="Text Placeholder 19">
            <a:extLst>
              <a:ext uri="{FF2B5EF4-FFF2-40B4-BE49-F238E27FC236}">
                <a16:creationId xmlns:a16="http://schemas.microsoft.com/office/drawing/2014/main" id="{92F09B2E-02DD-B1B0-D4FE-7743F865D39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088456" y="2970000"/>
            <a:ext cx="1152001" cy="14400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9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cs-CZ" noProof="1"/>
              <a:t>Jméno Příjmení</a:t>
            </a:r>
          </a:p>
        </p:txBody>
      </p:sp>
      <p:sp>
        <p:nvSpPr>
          <p:cNvPr id="23" name="Text Placeholder 19">
            <a:extLst>
              <a:ext uri="{FF2B5EF4-FFF2-40B4-BE49-F238E27FC236}">
                <a16:creationId xmlns:a16="http://schemas.microsoft.com/office/drawing/2014/main" id="{49B1DC85-4192-09B6-D800-266CEE24849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88455" y="3112875"/>
            <a:ext cx="1152001" cy="14400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900">
                <a:solidFill>
                  <a:schemeClr val="accent2"/>
                </a:solidFill>
              </a:defRPr>
            </a:lvl1pPr>
          </a:lstStyle>
          <a:p>
            <a:pPr lvl="0"/>
            <a:r>
              <a:rPr lang="cs-CZ" noProof="1"/>
              <a:t>Pozice</a:t>
            </a:r>
          </a:p>
        </p:txBody>
      </p:sp>
      <p:sp>
        <p:nvSpPr>
          <p:cNvPr id="24" name="Text Placeholder 19">
            <a:extLst>
              <a:ext uri="{FF2B5EF4-FFF2-40B4-BE49-F238E27FC236}">
                <a16:creationId xmlns:a16="http://schemas.microsoft.com/office/drawing/2014/main" id="{ABE8CAFB-0160-0A8F-FB22-C93DDF69CC6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56000" y="4464000"/>
            <a:ext cx="4086000" cy="882000"/>
          </a:xfr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buNone/>
              <a:defRPr sz="14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cs-CZ" noProof="1"/>
              <a:t>tř. Václava Klementa 869 Mladá Boleslav II</a:t>
            </a:r>
            <a:br>
              <a:rPr lang="cs-CZ" noProof="1"/>
            </a:br>
            <a:r>
              <a:rPr lang="cs-CZ" noProof="1"/>
              <a:t>293 01 Czech Republic</a:t>
            </a:r>
          </a:p>
        </p:txBody>
      </p:sp>
      <p:sp>
        <p:nvSpPr>
          <p:cNvPr id="25" name="Text Placeholder 19">
            <a:extLst>
              <a:ext uri="{FF2B5EF4-FFF2-40B4-BE49-F238E27FC236}">
                <a16:creationId xmlns:a16="http://schemas.microsoft.com/office/drawing/2014/main" id="{A98C13C5-D07A-AACD-353F-E0DD8400F3D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56550" y="4266000"/>
            <a:ext cx="4086000" cy="198000"/>
          </a:xfr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buNone/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cs-CZ" noProof="1"/>
              <a:t>Škoda Auto a.s.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36566C6-F354-0ABD-6A11-3BE97825439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846000" y="5598000"/>
            <a:ext cx="4698000" cy="180000"/>
          </a:xfrm>
        </p:spPr>
        <p:txBody>
          <a:bodyPr>
            <a:norm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S15 | 08.06.2023 | Future city tech | VTO | Miroslav Holan</a:t>
            </a:r>
            <a:endParaRPr lang="cs-CZ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D216088-5F02-69F6-F3F3-D16FE1E30EFB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49874036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2BC73856-9920-FB4D-1FA1-5AD01A9B1773}"/>
              </a:ext>
            </a:extLst>
          </p:cNvPr>
          <p:cNvSpPr/>
          <p:nvPr userDrawn="1"/>
        </p:nvSpPr>
        <p:spPr>
          <a:xfrm>
            <a:off x="3852000" y="0"/>
            <a:ext cx="6840000" cy="6011863"/>
          </a:xfrm>
          <a:custGeom>
            <a:avLst/>
            <a:gdLst>
              <a:gd name="connsiteX0" fmla="*/ 0 w 6840000"/>
              <a:gd name="connsiteY0" fmla="*/ 0 h 6011863"/>
              <a:gd name="connsiteX1" fmla="*/ 6840000 w 6840000"/>
              <a:gd name="connsiteY1" fmla="*/ 0 h 6011863"/>
              <a:gd name="connsiteX2" fmla="*/ 6840000 w 6840000"/>
              <a:gd name="connsiteY2" fmla="*/ 6011863 h 6011863"/>
              <a:gd name="connsiteX3" fmla="*/ 0 w 6840000"/>
              <a:gd name="connsiteY3" fmla="*/ 6011863 h 6011863"/>
              <a:gd name="connsiteX4" fmla="*/ 0 w 6840000"/>
              <a:gd name="connsiteY4" fmla="*/ 0 h 6011863"/>
              <a:gd name="connsiteX0" fmla="*/ 1602582 w 6840000"/>
              <a:gd name="connsiteY0" fmla="*/ 0 h 6011863"/>
              <a:gd name="connsiteX1" fmla="*/ 6840000 w 6840000"/>
              <a:gd name="connsiteY1" fmla="*/ 0 h 6011863"/>
              <a:gd name="connsiteX2" fmla="*/ 6840000 w 6840000"/>
              <a:gd name="connsiteY2" fmla="*/ 6011863 h 6011863"/>
              <a:gd name="connsiteX3" fmla="*/ 0 w 6840000"/>
              <a:gd name="connsiteY3" fmla="*/ 6011863 h 6011863"/>
              <a:gd name="connsiteX4" fmla="*/ 1602582 w 6840000"/>
              <a:gd name="connsiteY4" fmla="*/ 0 h 6011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40000" h="6011863">
                <a:moveTo>
                  <a:pt x="1602582" y="0"/>
                </a:moveTo>
                <a:lnTo>
                  <a:pt x="6840000" y="0"/>
                </a:lnTo>
                <a:lnTo>
                  <a:pt x="6840000" y="6011863"/>
                </a:lnTo>
                <a:lnTo>
                  <a:pt x="0" y="6011863"/>
                </a:lnTo>
                <a:lnTo>
                  <a:pt x="1602582" y="0"/>
                </a:lnTo>
                <a:close/>
              </a:path>
            </a:pathLst>
          </a:cu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en-US" noProof="0"/>
              <a:t>S15 | 08.06.2023 | Future city tech | VTO | Miroslav Holan</a:t>
            </a:r>
            <a:endParaRPr lang="cs-CZ" noProof="0" dirty="0"/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4" y="648000"/>
            <a:ext cx="4680000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/>
              <a:t>Podnadpis</a:t>
            </a:r>
            <a:endParaRPr lang="cs-CZ" noProof="0" dirty="0"/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>
          <a:xfrm>
            <a:off x="449264" y="269875"/>
            <a:ext cx="4680000" cy="360000"/>
          </a:xfrm>
        </p:spPr>
        <p:txBody>
          <a:bodyPr/>
          <a:lstStyle>
            <a:lvl1pPr>
              <a:defRPr/>
            </a:lvl1pPr>
          </a:lstStyle>
          <a:p>
            <a:r>
              <a:rPr lang="cs-CZ" noProof="0"/>
              <a:t>Nadpis (shrnutí stránky)</a:t>
            </a:r>
            <a:endParaRPr lang="cs-CZ" noProof="0" dirty="0"/>
          </a:p>
        </p:txBody>
      </p:sp>
      <p:sp>
        <p:nvSpPr>
          <p:cNvPr id="10" name="Zástupný symbol pro obsah 2"/>
          <p:cNvSpPr>
            <a:spLocks noGrp="1"/>
          </p:cNvSpPr>
          <p:nvPr>
            <p:ph idx="13" hasCustomPrompt="1"/>
          </p:nvPr>
        </p:nvSpPr>
        <p:spPr>
          <a:xfrm>
            <a:off x="5418138" y="269875"/>
            <a:ext cx="4824412" cy="3528125"/>
          </a:xfrm>
        </p:spPr>
        <p:txBody>
          <a:bodyPr anchor="b" anchorCtr="0">
            <a:normAutofit/>
          </a:bodyPr>
          <a:lstStyle>
            <a:lvl1pPr marL="0" indent="0" algn="ctr">
              <a:lnSpc>
                <a:spcPts val="13200"/>
              </a:lnSpc>
              <a:buNone/>
              <a:defRPr sz="13200" baseline="0">
                <a:solidFill>
                  <a:schemeClr val="accent2"/>
                </a:solidFill>
                <a:latin typeface="SKODA Next Light" panose="020B0304020603020204" pitchFamily="34" charset="0"/>
              </a:defRPr>
            </a:lvl1pPr>
            <a:lvl2pPr marL="180000" indent="0">
              <a:buNone/>
              <a:defRPr>
                <a:latin typeface="SKODA Next" panose="020B0504020603020204" pitchFamily="34" charset="0"/>
              </a:defRPr>
            </a:lvl2pPr>
            <a:lvl3pPr marL="360000" indent="0">
              <a:buNone/>
              <a:defRPr>
                <a:latin typeface="SKODA Next" panose="020B0504020603020204" pitchFamily="34" charset="0"/>
              </a:defRPr>
            </a:lvl3pPr>
            <a:lvl4pPr marL="540000" indent="0">
              <a:buNone/>
              <a:defRPr>
                <a:latin typeface="SKODA Next" panose="020B0504020603020204" pitchFamily="34" charset="0"/>
              </a:defRPr>
            </a:lvl4pPr>
            <a:lvl5pPr marL="720000" indent="0">
              <a:buNone/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1"/>
              <a:t>Číslo</a:t>
            </a:r>
          </a:p>
        </p:txBody>
      </p:sp>
      <p:sp>
        <p:nvSpPr>
          <p:cNvPr id="5" name="Zástupný symbol pro obsah 2">
            <a:extLst>
              <a:ext uri="{FF2B5EF4-FFF2-40B4-BE49-F238E27FC236}">
                <a16:creationId xmlns:a16="http://schemas.microsoft.com/office/drawing/2014/main" id="{3471EC78-B29A-0B43-3BBF-4728093475C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49264" y="1314450"/>
            <a:ext cx="3456000" cy="4032250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  <a:lvl6pPr marL="900000" indent="0">
              <a:buNone/>
              <a:defRPr/>
            </a:lvl6pPr>
            <a:lvl7pPr marL="1080000" indent="0">
              <a:buNone/>
              <a:defRPr/>
            </a:lvl7pPr>
            <a:lvl8pPr marL="1260000" indent="0">
              <a:buNone/>
              <a:defRPr/>
            </a:lvl8pPr>
            <a:lvl9pPr marL="1440000" indent="0">
              <a:buNone/>
              <a:defRPr/>
            </a:lvl9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6E6BFB5C-32B5-D05C-0882-76BFAB25CDA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41200" y="5659200"/>
            <a:ext cx="1002857" cy="108000"/>
          </a:xfrm>
          <a:prstGeom prst="rect">
            <a:avLst/>
          </a:prstGeom>
        </p:spPr>
      </p:pic>
      <p:sp>
        <p:nvSpPr>
          <p:cNvPr id="13" name="Zástupný symbol pro text 8">
            <a:extLst>
              <a:ext uri="{FF2B5EF4-FFF2-40B4-BE49-F238E27FC236}">
                <a16:creationId xmlns:a16="http://schemas.microsoft.com/office/drawing/2014/main" id="{2B865885-2219-05BC-D8B6-4695396A63F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18139" y="3798001"/>
            <a:ext cx="4824412" cy="2880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accent2"/>
                </a:solidFill>
                <a:latin typeface="SKODA Next" panose="020B0504020603020204" pitchFamily="34" charset="0"/>
              </a:defRPr>
            </a:lvl1pPr>
            <a:lvl2pPr marL="180000" indent="0">
              <a:buNone/>
              <a:defRPr>
                <a:solidFill>
                  <a:schemeClr val="accent2"/>
                </a:solidFill>
                <a:latin typeface="SKODA Next" panose="020B0504020603020204" pitchFamily="34" charset="0"/>
              </a:defRPr>
            </a:lvl2pPr>
            <a:lvl3pPr marL="360000" indent="0">
              <a:buNone/>
              <a:defRPr>
                <a:solidFill>
                  <a:schemeClr val="accent2"/>
                </a:solidFill>
                <a:latin typeface="SKODA Next" panose="020B0504020603020204" pitchFamily="34" charset="0"/>
              </a:defRPr>
            </a:lvl3pPr>
            <a:lvl4pPr marL="540000" indent="0">
              <a:buNone/>
              <a:defRPr>
                <a:solidFill>
                  <a:schemeClr val="accent2"/>
                </a:solidFill>
                <a:latin typeface="SKODA Next" panose="020B0504020603020204" pitchFamily="34" charset="0"/>
              </a:defRPr>
            </a:lvl4pPr>
            <a:lvl5pPr marL="720000" indent="0">
              <a:buNone/>
              <a:defRPr>
                <a:solidFill>
                  <a:schemeClr val="accent2"/>
                </a:solidFill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Detail čísla</a:t>
            </a:r>
          </a:p>
        </p:txBody>
      </p:sp>
      <p:sp>
        <p:nvSpPr>
          <p:cNvPr id="14" name="Zástupný symbol pro obrázek 10">
            <a:extLst>
              <a:ext uri="{FF2B5EF4-FFF2-40B4-BE49-F238E27FC236}">
                <a16:creationId xmlns:a16="http://schemas.microsoft.com/office/drawing/2014/main" id="{86DAE072-2452-AB7D-161C-6E9AB85BBE6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398345" y="4302000"/>
            <a:ext cx="864000" cy="432000"/>
          </a:xfrm>
        </p:spPr>
        <p:txBody>
          <a:bodyPr/>
          <a:lstStyle>
            <a:lvl1pPr algn="ctr">
              <a:buFontTx/>
              <a:buNone/>
              <a:defRPr>
                <a:solidFill>
                  <a:schemeClr val="accent2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Obr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2629441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B6C15D4D-B0E1-E0BD-A36D-4EB0521FEB47}"/>
              </a:ext>
            </a:extLst>
          </p:cNvPr>
          <p:cNvSpPr/>
          <p:nvPr userDrawn="1"/>
        </p:nvSpPr>
        <p:spPr>
          <a:xfrm>
            <a:off x="5418138" y="0"/>
            <a:ext cx="5273675" cy="601186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noProof="0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en-US" noProof="0"/>
              <a:t>S15 | 08.06.2023 | Future city tech | VTO | Miroslav Holan</a:t>
            </a:r>
            <a:endParaRPr lang="cs-CZ" noProof="0"/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6929438" y="1314450"/>
            <a:ext cx="2250375" cy="3060000"/>
          </a:xfrm>
        </p:spPr>
        <p:txBody>
          <a:bodyPr/>
          <a:lstStyle>
            <a:lvl1pPr algn="ctr">
              <a:buFontTx/>
              <a:buNone/>
              <a:defRPr>
                <a:solidFill>
                  <a:schemeClr val="accent2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Obrázek</a:t>
            </a:r>
          </a:p>
        </p:txBody>
      </p:sp>
      <p:sp>
        <p:nvSpPr>
          <p:cNvPr id="15" name="Zástupný symbol pro text 28"/>
          <p:cNvSpPr>
            <a:spLocks noGrp="1"/>
          </p:cNvSpPr>
          <p:nvPr>
            <p:ph type="body" sz="quarter" idx="14" hasCustomPrompt="1"/>
          </p:nvPr>
        </p:nvSpPr>
        <p:spPr>
          <a:xfrm>
            <a:off x="449264" y="648000"/>
            <a:ext cx="4824412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/>
              <a:t>Podnadpis</a:t>
            </a:r>
          </a:p>
        </p:txBody>
      </p:sp>
      <p:sp>
        <p:nvSpPr>
          <p:cNvPr id="4" name="Nadpis 3"/>
          <p:cNvSpPr>
            <a:spLocks noGrp="1"/>
          </p:cNvSpPr>
          <p:nvPr>
            <p:ph type="title" hasCustomPrompt="1"/>
          </p:nvPr>
        </p:nvSpPr>
        <p:spPr>
          <a:xfrm>
            <a:off x="449264" y="269875"/>
            <a:ext cx="4824412" cy="360000"/>
          </a:xfrm>
        </p:spPr>
        <p:txBody>
          <a:bodyPr/>
          <a:lstStyle>
            <a:lvl1pPr>
              <a:defRPr/>
            </a:lvl1pPr>
          </a:lstStyle>
          <a:p>
            <a:r>
              <a:rPr lang="cs-CZ" noProof="0"/>
              <a:t>Nadpis (shrnutí stránky)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0EA372E7-DC21-D60B-AA61-09AE26B7DDC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41200" y="5659200"/>
            <a:ext cx="1002857" cy="108000"/>
          </a:xfrm>
          <a:prstGeom prst="rect">
            <a:avLst/>
          </a:prstGeom>
        </p:spPr>
      </p:pic>
      <p:sp>
        <p:nvSpPr>
          <p:cNvPr id="16" name="Zástupný symbol pro obsah 2">
            <a:extLst>
              <a:ext uri="{FF2B5EF4-FFF2-40B4-BE49-F238E27FC236}">
                <a16:creationId xmlns:a16="http://schemas.microsoft.com/office/drawing/2014/main" id="{340CA0B5-574E-883F-7589-CDD3F13CBEE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49264" y="1314450"/>
            <a:ext cx="4824412" cy="4032250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  <a:lvl6pPr marL="900000" indent="0">
              <a:buNone/>
              <a:defRPr/>
            </a:lvl6pPr>
          </a:lstStyle>
          <a:p>
            <a:pPr lvl="0"/>
            <a:r>
              <a:rPr lang="cs-CZ" noProof="0"/>
              <a:t>První úroveň</a:t>
            </a:r>
          </a:p>
          <a:p>
            <a:pPr lvl="1"/>
            <a:r>
              <a:rPr lang="cs-CZ" noProof="0"/>
              <a:t>Druhá úroveň</a:t>
            </a:r>
          </a:p>
          <a:p>
            <a:pPr lvl="2"/>
            <a:r>
              <a:rPr lang="cs-CZ" noProof="0"/>
              <a:t>Třetí úroveň</a:t>
            </a:r>
          </a:p>
          <a:p>
            <a:pPr lvl="3"/>
            <a:r>
              <a:rPr lang="cs-CZ" noProof="0"/>
              <a:t>Čtvrtá úroveň</a:t>
            </a:r>
          </a:p>
          <a:p>
            <a:pPr lvl="4"/>
            <a:r>
              <a:rPr lang="cs-CZ" noProof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86359345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sets Mobi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2BC73856-9920-FB4D-1FA1-5AD01A9B1773}"/>
              </a:ext>
            </a:extLst>
          </p:cNvPr>
          <p:cNvSpPr/>
          <p:nvPr userDrawn="1"/>
        </p:nvSpPr>
        <p:spPr>
          <a:xfrm>
            <a:off x="4111557" y="0"/>
            <a:ext cx="6580443" cy="6011863"/>
          </a:xfrm>
          <a:custGeom>
            <a:avLst/>
            <a:gdLst>
              <a:gd name="connsiteX0" fmla="*/ 0 w 6840000"/>
              <a:gd name="connsiteY0" fmla="*/ 0 h 6011863"/>
              <a:gd name="connsiteX1" fmla="*/ 6840000 w 6840000"/>
              <a:gd name="connsiteY1" fmla="*/ 0 h 6011863"/>
              <a:gd name="connsiteX2" fmla="*/ 6840000 w 6840000"/>
              <a:gd name="connsiteY2" fmla="*/ 6011863 h 6011863"/>
              <a:gd name="connsiteX3" fmla="*/ 0 w 6840000"/>
              <a:gd name="connsiteY3" fmla="*/ 6011863 h 6011863"/>
              <a:gd name="connsiteX4" fmla="*/ 0 w 6840000"/>
              <a:gd name="connsiteY4" fmla="*/ 0 h 6011863"/>
              <a:gd name="connsiteX0" fmla="*/ 1602582 w 6840000"/>
              <a:gd name="connsiteY0" fmla="*/ 0 h 6011863"/>
              <a:gd name="connsiteX1" fmla="*/ 6840000 w 6840000"/>
              <a:gd name="connsiteY1" fmla="*/ 0 h 6011863"/>
              <a:gd name="connsiteX2" fmla="*/ 6840000 w 6840000"/>
              <a:gd name="connsiteY2" fmla="*/ 6011863 h 6011863"/>
              <a:gd name="connsiteX3" fmla="*/ 0 w 6840000"/>
              <a:gd name="connsiteY3" fmla="*/ 6011863 h 6011863"/>
              <a:gd name="connsiteX4" fmla="*/ 1602582 w 6840000"/>
              <a:gd name="connsiteY4" fmla="*/ 0 h 6011863"/>
              <a:gd name="connsiteX0" fmla="*/ 1869282 w 6840000"/>
              <a:gd name="connsiteY0" fmla="*/ 0 h 6011863"/>
              <a:gd name="connsiteX1" fmla="*/ 6840000 w 6840000"/>
              <a:gd name="connsiteY1" fmla="*/ 0 h 6011863"/>
              <a:gd name="connsiteX2" fmla="*/ 6840000 w 6840000"/>
              <a:gd name="connsiteY2" fmla="*/ 6011863 h 6011863"/>
              <a:gd name="connsiteX3" fmla="*/ 0 w 6840000"/>
              <a:gd name="connsiteY3" fmla="*/ 6011863 h 6011863"/>
              <a:gd name="connsiteX4" fmla="*/ 1869282 w 6840000"/>
              <a:gd name="connsiteY4" fmla="*/ 0 h 6011863"/>
              <a:gd name="connsiteX0" fmla="*/ 1609725 w 6580443"/>
              <a:gd name="connsiteY0" fmla="*/ 0 h 6011863"/>
              <a:gd name="connsiteX1" fmla="*/ 6580443 w 6580443"/>
              <a:gd name="connsiteY1" fmla="*/ 0 h 6011863"/>
              <a:gd name="connsiteX2" fmla="*/ 6580443 w 6580443"/>
              <a:gd name="connsiteY2" fmla="*/ 6011863 h 6011863"/>
              <a:gd name="connsiteX3" fmla="*/ 0 w 6580443"/>
              <a:gd name="connsiteY3" fmla="*/ 6011863 h 6011863"/>
              <a:gd name="connsiteX4" fmla="*/ 1609725 w 6580443"/>
              <a:gd name="connsiteY4" fmla="*/ 0 h 6011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80443" h="6011863">
                <a:moveTo>
                  <a:pt x="1609725" y="0"/>
                </a:moveTo>
                <a:lnTo>
                  <a:pt x="6580443" y="0"/>
                </a:lnTo>
                <a:lnTo>
                  <a:pt x="6580443" y="6011863"/>
                </a:lnTo>
                <a:lnTo>
                  <a:pt x="0" y="6011863"/>
                </a:lnTo>
                <a:lnTo>
                  <a:pt x="1609725" y="0"/>
                </a:lnTo>
                <a:close/>
              </a:path>
            </a:pathLst>
          </a:cu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noProof="0"/>
          </a:p>
        </p:txBody>
      </p:sp>
      <p:pic>
        <p:nvPicPr>
          <p:cNvPr id="2" name="Picture 1" descr="A black smartphone with a green screen&#10;&#10;Description automatically generated with low confidence">
            <a:extLst>
              <a:ext uri="{FF2B5EF4-FFF2-40B4-BE49-F238E27FC236}">
                <a16:creationId xmlns:a16="http://schemas.microsoft.com/office/drawing/2014/main" id="{FB079381-B007-27B5-FF2B-BD7E2735274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7942" y="873342"/>
            <a:ext cx="2261882" cy="4380510"/>
          </a:xfrm>
          <a:prstGeom prst="rect">
            <a:avLst/>
          </a:prstGeom>
        </p:spPr>
      </p:pic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en-US" noProof="0"/>
              <a:t>S15 | 08.06.2023 | Future city tech | VTO | Miroslav Holan</a:t>
            </a:r>
            <a:endParaRPr lang="cs-CZ" noProof="0"/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4" y="648000"/>
            <a:ext cx="4680000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/>
              <a:t>Podnadpis</a:t>
            </a:r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>
          <a:xfrm>
            <a:off x="449264" y="269875"/>
            <a:ext cx="4680000" cy="360000"/>
          </a:xfrm>
        </p:spPr>
        <p:txBody>
          <a:bodyPr/>
          <a:lstStyle>
            <a:lvl1pPr>
              <a:defRPr/>
            </a:lvl1pPr>
          </a:lstStyle>
          <a:p>
            <a:r>
              <a:rPr lang="cs-CZ" noProof="0"/>
              <a:t>Nadpis (shrnutí stránky)</a:t>
            </a:r>
          </a:p>
        </p:txBody>
      </p:sp>
      <p:sp>
        <p:nvSpPr>
          <p:cNvPr id="5" name="Zástupný symbol pro obsah 2">
            <a:extLst>
              <a:ext uri="{FF2B5EF4-FFF2-40B4-BE49-F238E27FC236}">
                <a16:creationId xmlns:a16="http://schemas.microsoft.com/office/drawing/2014/main" id="{3471EC78-B29A-0B43-3BBF-4728093475C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49264" y="1314450"/>
            <a:ext cx="3456000" cy="4032250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  <a:lvl6pPr marL="900000" indent="0">
              <a:buNone/>
              <a:defRPr/>
            </a:lvl6pPr>
          </a:lstStyle>
          <a:p>
            <a:pPr lvl="0"/>
            <a:r>
              <a:rPr lang="cs-CZ" noProof="0"/>
              <a:t>První úroveň</a:t>
            </a:r>
          </a:p>
          <a:p>
            <a:pPr lvl="1"/>
            <a:r>
              <a:rPr lang="cs-CZ" noProof="0"/>
              <a:t>Druhá úroveň</a:t>
            </a:r>
          </a:p>
          <a:p>
            <a:pPr lvl="2"/>
            <a:r>
              <a:rPr lang="cs-CZ" noProof="0"/>
              <a:t>Třetí úroveň</a:t>
            </a:r>
          </a:p>
          <a:p>
            <a:pPr lvl="3"/>
            <a:r>
              <a:rPr lang="cs-CZ" noProof="0"/>
              <a:t>Čtvrtá úroveň</a:t>
            </a:r>
          </a:p>
          <a:p>
            <a:pPr lvl="4"/>
            <a:r>
              <a:rPr lang="cs-CZ" noProof="0"/>
              <a:t>Pátá úroveň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3218803C-0D0E-BA73-E8EB-53888552656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39693" y="5660476"/>
            <a:ext cx="1002857" cy="108000"/>
          </a:xfrm>
          <a:prstGeom prst="rect">
            <a:avLst/>
          </a:prstGeom>
        </p:spPr>
      </p:pic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804DA798-6702-22E7-2B26-4A61B09ABC95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993683" y="981810"/>
            <a:ext cx="1854048" cy="4031251"/>
          </a:xfrm>
          <a:custGeom>
            <a:avLst/>
            <a:gdLst>
              <a:gd name="connsiteX0" fmla="*/ 163971 w 1854048"/>
              <a:gd name="connsiteY0" fmla="*/ 0 h 4031251"/>
              <a:gd name="connsiteX1" fmla="*/ 364469 w 1854048"/>
              <a:gd name="connsiteY1" fmla="*/ 0 h 4031251"/>
              <a:gd name="connsiteX2" fmla="*/ 393066 w 1854048"/>
              <a:gd name="connsiteY2" fmla="*/ 4326 h 4031251"/>
              <a:gd name="connsiteX3" fmla="*/ 414386 w 1854048"/>
              <a:gd name="connsiteY3" fmla="*/ 44511 h 4031251"/>
              <a:gd name="connsiteX4" fmla="*/ 445343 w 1854048"/>
              <a:gd name="connsiteY4" fmla="*/ 125472 h 4031251"/>
              <a:gd name="connsiteX5" fmla="*/ 535829 w 1854048"/>
              <a:gd name="connsiteY5" fmla="*/ 151666 h 4031251"/>
              <a:gd name="connsiteX6" fmla="*/ 1324023 w 1854048"/>
              <a:gd name="connsiteY6" fmla="*/ 154048 h 4031251"/>
              <a:gd name="connsiteX7" fmla="*/ 1412130 w 1854048"/>
              <a:gd name="connsiteY7" fmla="*/ 115948 h 4031251"/>
              <a:gd name="connsiteX8" fmla="*/ 1438324 w 1854048"/>
              <a:gd name="connsiteY8" fmla="*/ 56417 h 4031251"/>
              <a:gd name="connsiteX9" fmla="*/ 1495473 w 1854048"/>
              <a:gd name="connsiteY9" fmla="*/ 4028 h 4031251"/>
              <a:gd name="connsiteX10" fmla="*/ 1671684 w 1854048"/>
              <a:gd name="connsiteY10" fmla="*/ 6410 h 4031251"/>
              <a:gd name="connsiteX11" fmla="*/ 1816942 w 1854048"/>
              <a:gd name="connsiteY11" fmla="*/ 82610 h 4031251"/>
              <a:gd name="connsiteX12" fmla="*/ 1852103 w 1854048"/>
              <a:gd name="connsiteY12" fmla="*/ 175925 h 4031251"/>
              <a:gd name="connsiteX13" fmla="*/ 1854048 w 1854048"/>
              <a:gd name="connsiteY13" fmla="*/ 210300 h 4031251"/>
              <a:gd name="connsiteX14" fmla="*/ 1854048 w 1854048"/>
              <a:gd name="connsiteY14" fmla="*/ 3846889 h 4031251"/>
              <a:gd name="connsiteX15" fmla="*/ 1845815 w 1854048"/>
              <a:gd name="connsiteY15" fmla="*/ 3894099 h 4031251"/>
              <a:gd name="connsiteX16" fmla="*/ 1807418 w 1854048"/>
              <a:gd name="connsiteY16" fmla="*/ 3964048 h 4031251"/>
              <a:gd name="connsiteX17" fmla="*/ 1595486 w 1854048"/>
              <a:gd name="connsiteY17" fmla="*/ 4030722 h 4031251"/>
              <a:gd name="connsiteX18" fmla="*/ 245316 w 1854048"/>
              <a:gd name="connsiteY18" fmla="*/ 4030723 h 4031251"/>
              <a:gd name="connsiteX19" fmla="*/ 50055 w 1854048"/>
              <a:gd name="connsiteY19" fmla="*/ 3966430 h 4031251"/>
              <a:gd name="connsiteX20" fmla="*/ 48 w 1854048"/>
              <a:gd name="connsiteY20" fmla="*/ 3785454 h 4031251"/>
              <a:gd name="connsiteX21" fmla="*/ 48 w 1854048"/>
              <a:gd name="connsiteY21" fmla="*/ 251679 h 4031251"/>
              <a:gd name="connsiteX22" fmla="*/ 47675 w 1854048"/>
              <a:gd name="connsiteY22" fmla="*/ 61178 h 4031251"/>
              <a:gd name="connsiteX23" fmla="*/ 127930 w 1854048"/>
              <a:gd name="connsiteY23" fmla="*/ 9555 h 40312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854048" h="4031251">
                <a:moveTo>
                  <a:pt x="163971" y="0"/>
                </a:moveTo>
                <a:lnTo>
                  <a:pt x="364469" y="0"/>
                </a:lnTo>
                <a:lnTo>
                  <a:pt x="393066" y="4326"/>
                </a:lnTo>
                <a:cubicBezTo>
                  <a:pt x="415576" y="11024"/>
                  <a:pt x="409624" y="23080"/>
                  <a:pt x="414386" y="44511"/>
                </a:cubicBezTo>
                <a:cubicBezTo>
                  <a:pt x="418754" y="87374"/>
                  <a:pt x="425102" y="98088"/>
                  <a:pt x="445343" y="125472"/>
                </a:cubicBezTo>
                <a:cubicBezTo>
                  <a:pt x="465584" y="152856"/>
                  <a:pt x="485823" y="152063"/>
                  <a:pt x="535829" y="151666"/>
                </a:cubicBezTo>
                <a:lnTo>
                  <a:pt x="1324023" y="154048"/>
                </a:lnTo>
                <a:cubicBezTo>
                  <a:pt x="1376411" y="150873"/>
                  <a:pt x="1390699" y="132220"/>
                  <a:pt x="1412130" y="115948"/>
                </a:cubicBezTo>
                <a:cubicBezTo>
                  <a:pt x="1433561" y="99676"/>
                  <a:pt x="1436340" y="77451"/>
                  <a:pt x="1438324" y="56417"/>
                </a:cubicBezTo>
                <a:cubicBezTo>
                  <a:pt x="1440308" y="35383"/>
                  <a:pt x="1429592" y="1647"/>
                  <a:pt x="1495473" y="4028"/>
                </a:cubicBezTo>
                <a:cubicBezTo>
                  <a:pt x="1556592" y="4028"/>
                  <a:pt x="1603818" y="5219"/>
                  <a:pt x="1671684" y="6410"/>
                </a:cubicBezTo>
                <a:cubicBezTo>
                  <a:pt x="1739550" y="7601"/>
                  <a:pt x="1789955" y="46495"/>
                  <a:pt x="1816942" y="82610"/>
                </a:cubicBezTo>
                <a:cubicBezTo>
                  <a:pt x="1833015" y="107018"/>
                  <a:pt x="1846410" y="131426"/>
                  <a:pt x="1852103" y="175925"/>
                </a:cubicBezTo>
                <a:lnTo>
                  <a:pt x="1854048" y="210300"/>
                </a:lnTo>
                <a:lnTo>
                  <a:pt x="1854048" y="3846889"/>
                </a:lnTo>
                <a:lnTo>
                  <a:pt x="1845815" y="3894099"/>
                </a:lnTo>
                <a:cubicBezTo>
                  <a:pt x="1836787" y="3926147"/>
                  <a:pt x="1823293" y="3947379"/>
                  <a:pt x="1807418" y="3964048"/>
                </a:cubicBezTo>
                <a:cubicBezTo>
                  <a:pt x="1775668" y="3997386"/>
                  <a:pt x="1715342" y="4031517"/>
                  <a:pt x="1595486" y="4030722"/>
                </a:cubicBezTo>
                <a:cubicBezTo>
                  <a:pt x="1145429" y="4030722"/>
                  <a:pt x="355250" y="4031912"/>
                  <a:pt x="245316" y="4030723"/>
                </a:cubicBezTo>
                <a:cubicBezTo>
                  <a:pt x="135382" y="4029534"/>
                  <a:pt x="90933" y="4007308"/>
                  <a:pt x="50055" y="3966430"/>
                </a:cubicBezTo>
                <a:cubicBezTo>
                  <a:pt x="9177" y="3925552"/>
                  <a:pt x="1635" y="3884276"/>
                  <a:pt x="48" y="3785454"/>
                </a:cubicBezTo>
                <a:lnTo>
                  <a:pt x="48" y="251679"/>
                </a:lnTo>
                <a:cubicBezTo>
                  <a:pt x="-1143" y="128646"/>
                  <a:pt x="19894" y="96103"/>
                  <a:pt x="47675" y="61178"/>
                </a:cubicBezTo>
                <a:cubicBezTo>
                  <a:pt x="68511" y="34984"/>
                  <a:pt x="92918" y="20623"/>
                  <a:pt x="127930" y="9555"/>
                </a:cubicBezTo>
                <a:close/>
              </a:path>
            </a:pathLst>
          </a:custGeom>
          <a:ln w="3175">
            <a:noFill/>
          </a:ln>
        </p:spPr>
        <p:txBody>
          <a:bodyPr wrap="square" tIns="180000" rIns="0">
            <a:noAutofit/>
          </a:bodyPr>
          <a:lstStyle>
            <a:lvl1pPr algn="ctr">
              <a:spcBef>
                <a:spcPts val="0"/>
              </a:spcBef>
              <a:buFontTx/>
              <a:buNone/>
              <a:defRPr>
                <a:solidFill>
                  <a:schemeClr val="accent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Obr</a:t>
            </a:r>
          </a:p>
        </p:txBody>
      </p:sp>
    </p:spTree>
    <p:extLst>
      <p:ext uri="{BB962C8B-B14F-4D97-AF65-F5344CB8AC3E}">
        <p14:creationId xmlns:p14="http://schemas.microsoft.com/office/powerpoint/2010/main" val="37375491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sets NT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2BC73856-9920-FB4D-1FA1-5AD01A9B1773}"/>
              </a:ext>
            </a:extLst>
          </p:cNvPr>
          <p:cNvSpPr/>
          <p:nvPr userDrawn="1"/>
        </p:nvSpPr>
        <p:spPr>
          <a:xfrm>
            <a:off x="3852000" y="0"/>
            <a:ext cx="6840000" cy="6011863"/>
          </a:xfrm>
          <a:custGeom>
            <a:avLst/>
            <a:gdLst>
              <a:gd name="connsiteX0" fmla="*/ 0 w 6840000"/>
              <a:gd name="connsiteY0" fmla="*/ 0 h 6011863"/>
              <a:gd name="connsiteX1" fmla="*/ 6840000 w 6840000"/>
              <a:gd name="connsiteY1" fmla="*/ 0 h 6011863"/>
              <a:gd name="connsiteX2" fmla="*/ 6840000 w 6840000"/>
              <a:gd name="connsiteY2" fmla="*/ 6011863 h 6011863"/>
              <a:gd name="connsiteX3" fmla="*/ 0 w 6840000"/>
              <a:gd name="connsiteY3" fmla="*/ 6011863 h 6011863"/>
              <a:gd name="connsiteX4" fmla="*/ 0 w 6840000"/>
              <a:gd name="connsiteY4" fmla="*/ 0 h 6011863"/>
              <a:gd name="connsiteX0" fmla="*/ 1602582 w 6840000"/>
              <a:gd name="connsiteY0" fmla="*/ 0 h 6011863"/>
              <a:gd name="connsiteX1" fmla="*/ 6840000 w 6840000"/>
              <a:gd name="connsiteY1" fmla="*/ 0 h 6011863"/>
              <a:gd name="connsiteX2" fmla="*/ 6840000 w 6840000"/>
              <a:gd name="connsiteY2" fmla="*/ 6011863 h 6011863"/>
              <a:gd name="connsiteX3" fmla="*/ 0 w 6840000"/>
              <a:gd name="connsiteY3" fmla="*/ 6011863 h 6011863"/>
              <a:gd name="connsiteX4" fmla="*/ 1602582 w 6840000"/>
              <a:gd name="connsiteY4" fmla="*/ 0 h 6011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40000" h="6011863">
                <a:moveTo>
                  <a:pt x="1602582" y="0"/>
                </a:moveTo>
                <a:lnTo>
                  <a:pt x="6840000" y="0"/>
                </a:lnTo>
                <a:lnTo>
                  <a:pt x="6840000" y="6011863"/>
                </a:lnTo>
                <a:lnTo>
                  <a:pt x="0" y="6011863"/>
                </a:lnTo>
                <a:lnTo>
                  <a:pt x="1602582" y="0"/>
                </a:lnTo>
                <a:close/>
              </a:path>
            </a:pathLst>
          </a:cu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noProof="0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en-US" noProof="0"/>
              <a:t>S15 | 08.06.2023 | Future city tech | VTO | Miroslav Holan</a:t>
            </a:r>
            <a:endParaRPr lang="cs-CZ" noProof="0"/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4" y="648000"/>
            <a:ext cx="4680000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/>
              <a:t>Podnadpis</a:t>
            </a:r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>
          <a:xfrm>
            <a:off x="449264" y="269875"/>
            <a:ext cx="4680000" cy="360000"/>
          </a:xfrm>
        </p:spPr>
        <p:txBody>
          <a:bodyPr/>
          <a:lstStyle>
            <a:lvl1pPr>
              <a:defRPr/>
            </a:lvl1pPr>
          </a:lstStyle>
          <a:p>
            <a:r>
              <a:rPr lang="cs-CZ" noProof="0"/>
              <a:t>Nadpis (shrnutí stránky)</a:t>
            </a:r>
          </a:p>
        </p:txBody>
      </p:sp>
      <p:sp>
        <p:nvSpPr>
          <p:cNvPr id="5" name="Zástupný symbol pro obsah 2">
            <a:extLst>
              <a:ext uri="{FF2B5EF4-FFF2-40B4-BE49-F238E27FC236}">
                <a16:creationId xmlns:a16="http://schemas.microsoft.com/office/drawing/2014/main" id="{3471EC78-B29A-0B43-3BBF-4728093475C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49264" y="1314450"/>
            <a:ext cx="3456000" cy="4032250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/>
              <a:t>První úroveň</a:t>
            </a:r>
          </a:p>
          <a:p>
            <a:pPr lvl="1"/>
            <a:r>
              <a:rPr lang="cs-CZ" noProof="0"/>
              <a:t>Druhá úroveň</a:t>
            </a:r>
          </a:p>
          <a:p>
            <a:pPr lvl="2"/>
            <a:r>
              <a:rPr lang="cs-CZ" noProof="0"/>
              <a:t>Třetí úroveň</a:t>
            </a:r>
          </a:p>
          <a:p>
            <a:pPr lvl="3"/>
            <a:r>
              <a:rPr lang="cs-CZ" noProof="0"/>
              <a:t>Čtvrtá úroveň</a:t>
            </a:r>
          </a:p>
          <a:p>
            <a:pPr lvl="4"/>
            <a:r>
              <a:rPr lang="cs-CZ" noProof="0"/>
              <a:t>Pátá úroveň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3218803C-0D0E-BA73-E8EB-53888552656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39693" y="5660476"/>
            <a:ext cx="1002857" cy="108000"/>
          </a:xfrm>
          <a:prstGeom prst="rect">
            <a:avLst/>
          </a:prstGeom>
        </p:spPr>
      </p:pic>
      <p:pic>
        <p:nvPicPr>
          <p:cNvPr id="16" name="Picture 15" descr="Picture placeholder on NTB">
            <a:extLst>
              <a:ext uri="{FF2B5EF4-FFF2-40B4-BE49-F238E27FC236}">
                <a16:creationId xmlns:a16="http://schemas.microsoft.com/office/drawing/2014/main" id="{2B27DD95-842A-A815-22D8-793B2D351C7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855" t="11185" r="2782" b="13217"/>
          <a:stretch/>
        </p:blipFill>
        <p:spPr>
          <a:xfrm>
            <a:off x="4781550" y="1277863"/>
            <a:ext cx="5681663" cy="3365576"/>
          </a:xfrm>
          <a:prstGeom prst="rect">
            <a:avLst/>
          </a:prstGeom>
        </p:spPr>
      </p:pic>
      <p:sp>
        <p:nvSpPr>
          <p:cNvPr id="2" name="Zástupný symbol pro obrázek 10">
            <a:extLst>
              <a:ext uri="{FF2B5EF4-FFF2-40B4-BE49-F238E27FC236}">
                <a16:creationId xmlns:a16="http://schemas.microsoft.com/office/drawing/2014/main" id="{87DEAAE3-7548-B252-8D11-D78AD94E54D2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5504180" y="1527175"/>
            <a:ext cx="4248000" cy="2664000"/>
          </a:xfrm>
        </p:spPr>
        <p:txBody>
          <a:bodyPr/>
          <a:lstStyle>
            <a:lvl1pPr algn="ctr">
              <a:buFontTx/>
              <a:buNone/>
              <a:defRPr>
                <a:solidFill>
                  <a:schemeClr val="accent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Obr</a:t>
            </a:r>
          </a:p>
        </p:txBody>
      </p:sp>
    </p:spTree>
    <p:extLst>
      <p:ext uri="{BB962C8B-B14F-4D97-AF65-F5344CB8AC3E}">
        <p14:creationId xmlns:p14="http://schemas.microsoft.com/office/powerpoint/2010/main" val="14969678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sets Screens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Shape, rectangle&#10;&#10;Description automatically generated">
            <a:extLst>
              <a:ext uri="{FF2B5EF4-FFF2-40B4-BE49-F238E27FC236}">
                <a16:creationId xmlns:a16="http://schemas.microsoft.com/office/drawing/2014/main" id="{DF3E1D76-E1FE-85BE-876E-897BF722D4A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050" y="2091613"/>
            <a:ext cx="3744000" cy="2995200"/>
          </a:xfrm>
          <a:prstGeom prst="rect">
            <a:avLst/>
          </a:prstGeom>
          <a:effectLst>
            <a:softEdge rad="31750"/>
          </a:effectLst>
        </p:spPr>
      </p:pic>
      <p:pic>
        <p:nvPicPr>
          <p:cNvPr id="14" name="Picture 13" descr="A black smartphone with a green screen&#10;&#10;Description automatically generated with low confidence">
            <a:extLst>
              <a:ext uri="{FF2B5EF4-FFF2-40B4-BE49-F238E27FC236}">
                <a16:creationId xmlns:a16="http://schemas.microsoft.com/office/drawing/2014/main" id="{BAFCD9A6-230C-5FDE-7021-3001BC6B300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5395" y="1559470"/>
            <a:ext cx="1016799" cy="1969200"/>
          </a:xfrm>
          <a:prstGeom prst="rect">
            <a:avLst/>
          </a:prstGeom>
        </p:spPr>
      </p:pic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6369D4B5-C1C4-FBDE-DE0B-8CEE20ED2F6A}"/>
              </a:ext>
            </a:extLst>
          </p:cNvPr>
          <p:cNvSpPr/>
          <p:nvPr userDrawn="1"/>
        </p:nvSpPr>
        <p:spPr>
          <a:xfrm>
            <a:off x="4057652" y="4531518"/>
            <a:ext cx="417600" cy="50400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noProof="0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7" name="Zástupný symbol pro zápatí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en-US" noProof="0"/>
              <a:t>S15 | 08.06.2023 | Future city tech | VTO | Miroslav Holan</a:t>
            </a:r>
            <a:endParaRPr lang="cs-CZ" noProof="0"/>
          </a:p>
        </p:txBody>
      </p:sp>
      <p:sp>
        <p:nvSpPr>
          <p:cNvPr id="10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648000"/>
            <a:ext cx="9793288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/>
              <a:t>Podnadpis</a:t>
            </a:r>
          </a:p>
        </p:txBody>
      </p:sp>
      <p:sp>
        <p:nvSpPr>
          <p:cNvPr id="3" name="Nadpis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cs-CZ" noProof="0"/>
              <a:t>Nadpis (shrnutí stránky)</a:t>
            </a:r>
          </a:p>
        </p:txBody>
      </p:sp>
      <p:sp>
        <p:nvSpPr>
          <p:cNvPr id="4" name="Picture Placeholder 18">
            <a:extLst>
              <a:ext uri="{FF2B5EF4-FFF2-40B4-BE49-F238E27FC236}">
                <a16:creationId xmlns:a16="http://schemas.microsoft.com/office/drawing/2014/main" id="{3F5D714F-8A7D-5AF6-0CB7-DFB1A6CB1325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912946" y="1610447"/>
            <a:ext cx="832324" cy="1809720"/>
          </a:xfrm>
          <a:custGeom>
            <a:avLst/>
            <a:gdLst>
              <a:gd name="connsiteX0" fmla="*/ 163971 w 1854048"/>
              <a:gd name="connsiteY0" fmla="*/ 0 h 4031251"/>
              <a:gd name="connsiteX1" fmla="*/ 364469 w 1854048"/>
              <a:gd name="connsiteY1" fmla="*/ 0 h 4031251"/>
              <a:gd name="connsiteX2" fmla="*/ 393066 w 1854048"/>
              <a:gd name="connsiteY2" fmla="*/ 4326 h 4031251"/>
              <a:gd name="connsiteX3" fmla="*/ 414386 w 1854048"/>
              <a:gd name="connsiteY3" fmla="*/ 44511 h 4031251"/>
              <a:gd name="connsiteX4" fmla="*/ 445343 w 1854048"/>
              <a:gd name="connsiteY4" fmla="*/ 125472 h 4031251"/>
              <a:gd name="connsiteX5" fmla="*/ 535829 w 1854048"/>
              <a:gd name="connsiteY5" fmla="*/ 151666 h 4031251"/>
              <a:gd name="connsiteX6" fmla="*/ 1324023 w 1854048"/>
              <a:gd name="connsiteY6" fmla="*/ 154048 h 4031251"/>
              <a:gd name="connsiteX7" fmla="*/ 1412130 w 1854048"/>
              <a:gd name="connsiteY7" fmla="*/ 115948 h 4031251"/>
              <a:gd name="connsiteX8" fmla="*/ 1438324 w 1854048"/>
              <a:gd name="connsiteY8" fmla="*/ 56417 h 4031251"/>
              <a:gd name="connsiteX9" fmla="*/ 1495473 w 1854048"/>
              <a:gd name="connsiteY9" fmla="*/ 4028 h 4031251"/>
              <a:gd name="connsiteX10" fmla="*/ 1671684 w 1854048"/>
              <a:gd name="connsiteY10" fmla="*/ 6410 h 4031251"/>
              <a:gd name="connsiteX11" fmla="*/ 1816942 w 1854048"/>
              <a:gd name="connsiteY11" fmla="*/ 82610 h 4031251"/>
              <a:gd name="connsiteX12" fmla="*/ 1852103 w 1854048"/>
              <a:gd name="connsiteY12" fmla="*/ 175925 h 4031251"/>
              <a:gd name="connsiteX13" fmla="*/ 1854048 w 1854048"/>
              <a:gd name="connsiteY13" fmla="*/ 210300 h 4031251"/>
              <a:gd name="connsiteX14" fmla="*/ 1854048 w 1854048"/>
              <a:gd name="connsiteY14" fmla="*/ 3846889 h 4031251"/>
              <a:gd name="connsiteX15" fmla="*/ 1845815 w 1854048"/>
              <a:gd name="connsiteY15" fmla="*/ 3894099 h 4031251"/>
              <a:gd name="connsiteX16" fmla="*/ 1807418 w 1854048"/>
              <a:gd name="connsiteY16" fmla="*/ 3964048 h 4031251"/>
              <a:gd name="connsiteX17" fmla="*/ 1595486 w 1854048"/>
              <a:gd name="connsiteY17" fmla="*/ 4030722 h 4031251"/>
              <a:gd name="connsiteX18" fmla="*/ 245316 w 1854048"/>
              <a:gd name="connsiteY18" fmla="*/ 4030723 h 4031251"/>
              <a:gd name="connsiteX19" fmla="*/ 50055 w 1854048"/>
              <a:gd name="connsiteY19" fmla="*/ 3966430 h 4031251"/>
              <a:gd name="connsiteX20" fmla="*/ 48 w 1854048"/>
              <a:gd name="connsiteY20" fmla="*/ 3785454 h 4031251"/>
              <a:gd name="connsiteX21" fmla="*/ 48 w 1854048"/>
              <a:gd name="connsiteY21" fmla="*/ 251679 h 4031251"/>
              <a:gd name="connsiteX22" fmla="*/ 47675 w 1854048"/>
              <a:gd name="connsiteY22" fmla="*/ 61178 h 4031251"/>
              <a:gd name="connsiteX23" fmla="*/ 127930 w 1854048"/>
              <a:gd name="connsiteY23" fmla="*/ 9555 h 40312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854048" h="4031251">
                <a:moveTo>
                  <a:pt x="163971" y="0"/>
                </a:moveTo>
                <a:lnTo>
                  <a:pt x="364469" y="0"/>
                </a:lnTo>
                <a:lnTo>
                  <a:pt x="393066" y="4326"/>
                </a:lnTo>
                <a:cubicBezTo>
                  <a:pt x="415576" y="11024"/>
                  <a:pt x="409624" y="23080"/>
                  <a:pt x="414386" y="44511"/>
                </a:cubicBezTo>
                <a:cubicBezTo>
                  <a:pt x="418754" y="87374"/>
                  <a:pt x="425102" y="98088"/>
                  <a:pt x="445343" y="125472"/>
                </a:cubicBezTo>
                <a:cubicBezTo>
                  <a:pt x="465584" y="152856"/>
                  <a:pt x="485823" y="152063"/>
                  <a:pt x="535829" y="151666"/>
                </a:cubicBezTo>
                <a:lnTo>
                  <a:pt x="1324023" y="154048"/>
                </a:lnTo>
                <a:cubicBezTo>
                  <a:pt x="1376411" y="150873"/>
                  <a:pt x="1390699" y="132220"/>
                  <a:pt x="1412130" y="115948"/>
                </a:cubicBezTo>
                <a:cubicBezTo>
                  <a:pt x="1433561" y="99676"/>
                  <a:pt x="1436340" y="77451"/>
                  <a:pt x="1438324" y="56417"/>
                </a:cubicBezTo>
                <a:cubicBezTo>
                  <a:pt x="1440308" y="35383"/>
                  <a:pt x="1429592" y="1647"/>
                  <a:pt x="1495473" y="4028"/>
                </a:cubicBezTo>
                <a:cubicBezTo>
                  <a:pt x="1556592" y="4028"/>
                  <a:pt x="1603818" y="5219"/>
                  <a:pt x="1671684" y="6410"/>
                </a:cubicBezTo>
                <a:cubicBezTo>
                  <a:pt x="1739550" y="7601"/>
                  <a:pt x="1789955" y="46495"/>
                  <a:pt x="1816942" y="82610"/>
                </a:cubicBezTo>
                <a:cubicBezTo>
                  <a:pt x="1833015" y="107018"/>
                  <a:pt x="1846410" y="131426"/>
                  <a:pt x="1852103" y="175925"/>
                </a:cubicBezTo>
                <a:lnTo>
                  <a:pt x="1854048" y="210300"/>
                </a:lnTo>
                <a:lnTo>
                  <a:pt x="1854048" y="3846889"/>
                </a:lnTo>
                <a:lnTo>
                  <a:pt x="1845815" y="3894099"/>
                </a:lnTo>
                <a:cubicBezTo>
                  <a:pt x="1836787" y="3926147"/>
                  <a:pt x="1823293" y="3947379"/>
                  <a:pt x="1807418" y="3964048"/>
                </a:cubicBezTo>
                <a:cubicBezTo>
                  <a:pt x="1775668" y="3997386"/>
                  <a:pt x="1715342" y="4031517"/>
                  <a:pt x="1595486" y="4030722"/>
                </a:cubicBezTo>
                <a:cubicBezTo>
                  <a:pt x="1145429" y="4030722"/>
                  <a:pt x="355250" y="4031912"/>
                  <a:pt x="245316" y="4030723"/>
                </a:cubicBezTo>
                <a:cubicBezTo>
                  <a:pt x="135382" y="4029534"/>
                  <a:pt x="90933" y="4007308"/>
                  <a:pt x="50055" y="3966430"/>
                </a:cubicBezTo>
                <a:cubicBezTo>
                  <a:pt x="9177" y="3925552"/>
                  <a:pt x="1635" y="3884276"/>
                  <a:pt x="48" y="3785454"/>
                </a:cubicBezTo>
                <a:lnTo>
                  <a:pt x="48" y="251679"/>
                </a:lnTo>
                <a:cubicBezTo>
                  <a:pt x="-1143" y="128646"/>
                  <a:pt x="19894" y="96103"/>
                  <a:pt x="47675" y="61178"/>
                </a:cubicBezTo>
                <a:cubicBezTo>
                  <a:pt x="68511" y="34984"/>
                  <a:pt x="92918" y="20623"/>
                  <a:pt x="127930" y="9555"/>
                </a:cubicBezTo>
                <a:close/>
              </a:path>
            </a:pathLst>
          </a:custGeom>
          <a:ln w="3175">
            <a:noFill/>
          </a:ln>
        </p:spPr>
        <p:txBody>
          <a:bodyPr wrap="square" tIns="180000" rIns="0">
            <a:noAutofit/>
          </a:bodyPr>
          <a:lstStyle>
            <a:lvl1pPr algn="ctr">
              <a:spcBef>
                <a:spcPts val="0"/>
              </a:spcBef>
              <a:buFontTx/>
              <a:buNone/>
              <a:defRPr>
                <a:solidFill>
                  <a:schemeClr val="accent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Obr</a:t>
            </a:r>
          </a:p>
        </p:txBody>
      </p:sp>
      <p:pic>
        <p:nvPicPr>
          <p:cNvPr id="5" name="Picture 4" descr="Picture placeholder on NTB">
            <a:extLst>
              <a:ext uri="{FF2B5EF4-FFF2-40B4-BE49-F238E27FC236}">
                <a16:creationId xmlns:a16="http://schemas.microsoft.com/office/drawing/2014/main" id="{83BDD9CF-7056-D14F-6C98-08383FBD25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855" t="11185" r="2782" b="13217"/>
          <a:stretch/>
        </p:blipFill>
        <p:spPr>
          <a:xfrm>
            <a:off x="5288606" y="1778076"/>
            <a:ext cx="5079632" cy="3008958"/>
          </a:xfrm>
          <a:prstGeom prst="rect">
            <a:avLst/>
          </a:prstGeom>
        </p:spPr>
      </p:pic>
      <p:sp>
        <p:nvSpPr>
          <p:cNvPr id="8" name="Zástupný symbol pro obrázek 10">
            <a:extLst>
              <a:ext uri="{FF2B5EF4-FFF2-40B4-BE49-F238E27FC236}">
                <a16:creationId xmlns:a16="http://schemas.microsoft.com/office/drawing/2014/main" id="{D15D8CFF-B991-6428-A03C-ED319344C3EC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928544" y="1998378"/>
            <a:ext cx="3801600" cy="2381722"/>
          </a:xfrm>
        </p:spPr>
        <p:txBody>
          <a:bodyPr/>
          <a:lstStyle>
            <a:lvl1pPr algn="ctr">
              <a:buFontTx/>
              <a:buNone/>
              <a:defRPr>
                <a:solidFill>
                  <a:schemeClr val="accent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Obr</a:t>
            </a:r>
          </a:p>
        </p:txBody>
      </p:sp>
      <p:sp>
        <p:nvSpPr>
          <p:cNvPr id="13" name="Zástupný symbol pro obrázek 10">
            <a:extLst>
              <a:ext uri="{FF2B5EF4-FFF2-40B4-BE49-F238E27FC236}">
                <a16:creationId xmlns:a16="http://schemas.microsoft.com/office/drawing/2014/main" id="{8DB6E6F3-896A-1761-57EA-93B2D9BFC65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04433" y="2467446"/>
            <a:ext cx="2653200" cy="1854000"/>
          </a:xfrm>
          <a:prstGeom prst="roundRect">
            <a:avLst>
              <a:gd name="adj" fmla="val 2124"/>
            </a:avLst>
          </a:prstGeom>
        </p:spPr>
        <p:txBody>
          <a:bodyPr/>
          <a:lstStyle>
            <a:lvl1pPr algn="ctr">
              <a:buFontTx/>
              <a:buNone/>
              <a:defRPr>
                <a:solidFill>
                  <a:schemeClr val="accent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Obr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8D6BEC5B-BD30-950B-5B02-B20EBD2C6B5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06843" y="4321446"/>
            <a:ext cx="540000" cy="920700"/>
          </a:xfrm>
          <a:prstGeom prst="rect">
            <a:avLst/>
          </a:prstGeom>
        </p:spPr>
      </p:pic>
      <p:sp>
        <p:nvSpPr>
          <p:cNvPr id="20" name="Zástupný symbol pro obrázek 10">
            <a:extLst>
              <a:ext uri="{FF2B5EF4-FFF2-40B4-BE49-F238E27FC236}">
                <a16:creationId xmlns:a16="http://schemas.microsoft.com/office/drawing/2014/main" id="{24F28A04-BA62-6179-A6A4-4EE5267D30D4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4062413" y="4536280"/>
            <a:ext cx="406800" cy="489600"/>
          </a:xfrm>
          <a:prstGeom prst="roundRect">
            <a:avLst>
              <a:gd name="adj" fmla="val 17343"/>
            </a:avLst>
          </a:prstGeom>
        </p:spPr>
        <p:txBody>
          <a:bodyPr/>
          <a:lstStyle>
            <a:lvl1pPr algn="ctr">
              <a:buFontTx/>
              <a:buNone/>
              <a:defRPr>
                <a:solidFill>
                  <a:schemeClr val="accent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Obr</a:t>
            </a:r>
          </a:p>
        </p:txBody>
      </p:sp>
    </p:spTree>
    <p:extLst>
      <p:ext uri="{BB962C8B-B14F-4D97-AF65-F5344CB8AC3E}">
        <p14:creationId xmlns:p14="http://schemas.microsoft.com/office/powerpoint/2010/main" val="227332821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 userDrawn="1">
            <p:ph idx="1" hasCustomPrompt="1"/>
          </p:nvPr>
        </p:nvSpPr>
        <p:spPr>
          <a:xfrm>
            <a:off x="449263" y="1314450"/>
            <a:ext cx="9793287" cy="4032250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  <a:lvl6pPr marL="900000" indent="0">
              <a:buNone/>
              <a:defRPr/>
            </a:lvl6pPr>
          </a:lstStyle>
          <a:p>
            <a:pPr lvl="0"/>
            <a:r>
              <a:rPr lang="cs-CZ" noProof="0"/>
              <a:t>První úroveň</a:t>
            </a:r>
          </a:p>
          <a:p>
            <a:pPr lvl="1"/>
            <a:r>
              <a:rPr lang="cs-CZ" noProof="0"/>
              <a:t>Druhá úroveň</a:t>
            </a:r>
          </a:p>
          <a:p>
            <a:pPr lvl="2"/>
            <a:r>
              <a:rPr lang="cs-CZ" noProof="0"/>
              <a:t>Třetí úroveň</a:t>
            </a:r>
          </a:p>
          <a:p>
            <a:pPr lvl="3"/>
            <a:r>
              <a:rPr lang="cs-CZ" noProof="0"/>
              <a:t>Čtvrtá úroveň</a:t>
            </a:r>
          </a:p>
          <a:p>
            <a:pPr lvl="4"/>
            <a:r>
              <a:rPr lang="cs-CZ" noProof="0"/>
              <a:t>Pátá úroveň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 userDrawn="1"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8" name="Zástupný symbol pro zápatí 7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en-US" noProof="0"/>
              <a:t>S15 | 08.06.2023 | Future city tech | VTO | Miroslav Holan</a:t>
            </a:r>
            <a:endParaRPr lang="cs-CZ" noProof="0"/>
          </a:p>
        </p:txBody>
      </p:sp>
      <p:sp>
        <p:nvSpPr>
          <p:cNvPr id="29" name="Zástupný symbol pro text 28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449263" y="649287"/>
            <a:ext cx="9793288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/>
              <a:t>Podnadpis</a:t>
            </a:r>
          </a:p>
        </p:txBody>
      </p:sp>
      <p:sp>
        <p:nvSpPr>
          <p:cNvPr id="30" name="Nadpis 29"/>
          <p:cNvSpPr>
            <a:spLocks noGrp="1"/>
          </p:cNvSpPr>
          <p:nvPr userDrawn="1">
            <p:ph type="title" hasCustomPrompt="1"/>
          </p:nvPr>
        </p:nvSpPr>
        <p:spPr>
          <a:xfrm>
            <a:off x="449263" y="269875"/>
            <a:ext cx="9793287" cy="360000"/>
          </a:xfrm>
        </p:spPr>
        <p:txBody>
          <a:bodyPr/>
          <a:lstStyle>
            <a:lvl1pPr>
              <a:defRPr/>
            </a:lvl1pPr>
          </a:lstStyle>
          <a:p>
            <a:r>
              <a:rPr lang="cs-CZ" noProof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30741279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 hasCustomPrompt="1"/>
          </p:nvPr>
        </p:nvSpPr>
        <p:spPr>
          <a:xfrm>
            <a:off x="449263" y="1314450"/>
            <a:ext cx="4824412" cy="4032250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/>
              <a:t>První úroveň</a:t>
            </a:r>
          </a:p>
          <a:p>
            <a:pPr lvl="1"/>
            <a:r>
              <a:rPr lang="cs-CZ" noProof="0"/>
              <a:t>Druhá úroveň</a:t>
            </a:r>
          </a:p>
          <a:p>
            <a:pPr lvl="2"/>
            <a:r>
              <a:rPr lang="cs-CZ" noProof="0"/>
              <a:t>Třetí úroveň</a:t>
            </a:r>
          </a:p>
          <a:p>
            <a:pPr lvl="3"/>
            <a:r>
              <a:rPr lang="cs-CZ" noProof="0"/>
              <a:t>Čtvrtá úroveň</a:t>
            </a:r>
          </a:p>
          <a:p>
            <a:pPr lvl="4"/>
            <a:r>
              <a:rPr lang="cs-CZ" noProof="0"/>
              <a:t>Pátá úroveň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en-US" noProof="0"/>
              <a:t>S15 | 08.06.2023 | Future city tech | VTO | Miroslav Holan</a:t>
            </a:r>
            <a:endParaRPr lang="cs-CZ" noProof="0"/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648000"/>
            <a:ext cx="9793288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/>
              <a:t>Podnadpis</a:t>
            </a:r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/>
              <a:t>Nadpis (shrnutí stránky)</a:t>
            </a:r>
          </a:p>
        </p:txBody>
      </p:sp>
      <p:sp>
        <p:nvSpPr>
          <p:cNvPr id="9" name="Zástupný symbol pro obsah 2"/>
          <p:cNvSpPr>
            <a:spLocks noGrp="1"/>
          </p:cNvSpPr>
          <p:nvPr>
            <p:ph idx="13" hasCustomPrompt="1"/>
          </p:nvPr>
        </p:nvSpPr>
        <p:spPr>
          <a:xfrm>
            <a:off x="5418139" y="1314450"/>
            <a:ext cx="4824411" cy="4032250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/>
              <a:t>První úroveň</a:t>
            </a:r>
          </a:p>
          <a:p>
            <a:pPr lvl="1"/>
            <a:r>
              <a:rPr lang="cs-CZ" noProof="0"/>
              <a:t>Druhá úroveň</a:t>
            </a:r>
          </a:p>
          <a:p>
            <a:pPr lvl="2"/>
            <a:r>
              <a:rPr lang="cs-CZ" noProof="0"/>
              <a:t>Třetí úroveň</a:t>
            </a:r>
          </a:p>
          <a:p>
            <a:pPr lvl="3"/>
            <a:r>
              <a:rPr lang="cs-CZ" noProof="0"/>
              <a:t>Čtvrtá úroveň</a:t>
            </a:r>
          </a:p>
          <a:p>
            <a:pPr lvl="4"/>
            <a:r>
              <a:rPr lang="cs-CZ" noProof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42934625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 hasCustomPrompt="1"/>
          </p:nvPr>
        </p:nvSpPr>
        <p:spPr>
          <a:xfrm>
            <a:off x="449261" y="1314450"/>
            <a:ext cx="3168651" cy="4032250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/>
              <a:t>První úroveň</a:t>
            </a:r>
          </a:p>
          <a:p>
            <a:pPr lvl="1"/>
            <a:r>
              <a:rPr lang="cs-CZ" noProof="0"/>
              <a:t>Druhá úroveň</a:t>
            </a:r>
          </a:p>
          <a:p>
            <a:pPr lvl="2"/>
            <a:r>
              <a:rPr lang="cs-CZ" noProof="0"/>
              <a:t>Třetí úroveň</a:t>
            </a:r>
          </a:p>
          <a:p>
            <a:pPr lvl="3"/>
            <a:r>
              <a:rPr lang="cs-CZ" noProof="0"/>
              <a:t>Čtvrtá úroveň</a:t>
            </a:r>
          </a:p>
          <a:p>
            <a:pPr lvl="4"/>
            <a:r>
              <a:rPr lang="cs-CZ" noProof="0"/>
              <a:t>Pátá úroveň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en-US" noProof="0"/>
              <a:t>S15 | 08.06.2023 | Future city tech | VTO | Miroslav Holan</a:t>
            </a:r>
            <a:endParaRPr lang="cs-CZ" noProof="0"/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648000"/>
            <a:ext cx="9793287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/>
              <a:t>Podnadpis</a:t>
            </a:r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/>
              <a:t>Nadpis (shrnutí stránky)</a:t>
            </a:r>
          </a:p>
        </p:txBody>
      </p:sp>
      <p:sp>
        <p:nvSpPr>
          <p:cNvPr id="10" name="Zástupný symbol pro obsah 2"/>
          <p:cNvSpPr>
            <a:spLocks noGrp="1"/>
          </p:cNvSpPr>
          <p:nvPr>
            <p:ph idx="13" hasCustomPrompt="1"/>
          </p:nvPr>
        </p:nvSpPr>
        <p:spPr>
          <a:xfrm>
            <a:off x="3762375" y="1314450"/>
            <a:ext cx="3167063" cy="4032250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/>
              <a:t>První úroveň</a:t>
            </a:r>
          </a:p>
          <a:p>
            <a:pPr lvl="1"/>
            <a:r>
              <a:rPr lang="cs-CZ" noProof="0"/>
              <a:t>Druhá úroveň</a:t>
            </a:r>
          </a:p>
          <a:p>
            <a:pPr lvl="2"/>
            <a:r>
              <a:rPr lang="cs-CZ" noProof="0"/>
              <a:t>Třetí úroveň</a:t>
            </a:r>
          </a:p>
          <a:p>
            <a:pPr lvl="3"/>
            <a:r>
              <a:rPr lang="cs-CZ" noProof="0"/>
              <a:t>Čtvrtá úroveň</a:t>
            </a:r>
          </a:p>
          <a:p>
            <a:pPr lvl="4"/>
            <a:r>
              <a:rPr lang="cs-CZ" noProof="0"/>
              <a:t>Pátá úroveň</a:t>
            </a:r>
          </a:p>
        </p:txBody>
      </p:sp>
      <p:sp>
        <p:nvSpPr>
          <p:cNvPr id="11" name="Zástupný symbol pro obsah 2"/>
          <p:cNvSpPr>
            <a:spLocks noGrp="1"/>
          </p:cNvSpPr>
          <p:nvPr>
            <p:ph idx="14" hasCustomPrompt="1"/>
          </p:nvPr>
        </p:nvSpPr>
        <p:spPr>
          <a:xfrm>
            <a:off x="7073900" y="1314450"/>
            <a:ext cx="3168650" cy="4032250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/>
              <a:t>První úroveň</a:t>
            </a:r>
          </a:p>
          <a:p>
            <a:pPr lvl="1"/>
            <a:r>
              <a:rPr lang="cs-CZ" noProof="0"/>
              <a:t>Druhá úroveň</a:t>
            </a:r>
          </a:p>
          <a:p>
            <a:pPr lvl="2"/>
            <a:r>
              <a:rPr lang="cs-CZ" noProof="0"/>
              <a:t>Třetí úroveň</a:t>
            </a:r>
          </a:p>
          <a:p>
            <a:pPr lvl="3"/>
            <a:r>
              <a:rPr lang="cs-CZ" noProof="0"/>
              <a:t>Čtvrtá úroveň</a:t>
            </a:r>
          </a:p>
          <a:p>
            <a:pPr lvl="4"/>
            <a:r>
              <a:rPr lang="cs-CZ" noProof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4274296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4">
            <a:extLst>
              <a:ext uri="{FF2B5EF4-FFF2-40B4-BE49-F238E27FC236}">
                <a16:creationId xmlns:a16="http://schemas.microsoft.com/office/drawing/2014/main" id="{A2985358-9CAA-B6FA-88CF-228B2CA9D80F}"/>
              </a:ext>
            </a:extLst>
          </p:cNvPr>
          <p:cNvSpPr/>
          <p:nvPr userDrawn="1"/>
        </p:nvSpPr>
        <p:spPr>
          <a:xfrm>
            <a:off x="0" y="0"/>
            <a:ext cx="3762375" cy="1009650"/>
          </a:xfrm>
          <a:custGeom>
            <a:avLst/>
            <a:gdLst>
              <a:gd name="connsiteX0" fmla="*/ 0 w 5220000"/>
              <a:gd name="connsiteY0" fmla="*/ 0 h 1404000"/>
              <a:gd name="connsiteX1" fmla="*/ 5220000 w 5220000"/>
              <a:gd name="connsiteY1" fmla="*/ 0 h 1404000"/>
              <a:gd name="connsiteX2" fmla="*/ 5220000 w 5220000"/>
              <a:gd name="connsiteY2" fmla="*/ 1404000 h 1404000"/>
              <a:gd name="connsiteX3" fmla="*/ 0 w 5220000"/>
              <a:gd name="connsiteY3" fmla="*/ 1404000 h 1404000"/>
              <a:gd name="connsiteX4" fmla="*/ 0 w 5220000"/>
              <a:gd name="connsiteY4" fmla="*/ 0 h 1404000"/>
              <a:gd name="connsiteX0" fmla="*/ 0 w 5220000"/>
              <a:gd name="connsiteY0" fmla="*/ 0 h 1404000"/>
              <a:gd name="connsiteX1" fmla="*/ 5220000 w 5220000"/>
              <a:gd name="connsiteY1" fmla="*/ 0 h 1404000"/>
              <a:gd name="connsiteX2" fmla="*/ 5220000 w 5220000"/>
              <a:gd name="connsiteY2" fmla="*/ 1404000 h 1404000"/>
              <a:gd name="connsiteX3" fmla="*/ 0 w 5220000"/>
              <a:gd name="connsiteY3" fmla="*/ 1404000 h 1404000"/>
              <a:gd name="connsiteX4" fmla="*/ 0 w 5220000"/>
              <a:gd name="connsiteY4" fmla="*/ 0 h 1404000"/>
              <a:gd name="connsiteX0" fmla="*/ 0 w 5220000"/>
              <a:gd name="connsiteY0" fmla="*/ 0 h 1404000"/>
              <a:gd name="connsiteX1" fmla="*/ 5220000 w 5220000"/>
              <a:gd name="connsiteY1" fmla="*/ 0 h 1404000"/>
              <a:gd name="connsiteX2" fmla="*/ 0 w 5220000"/>
              <a:gd name="connsiteY2" fmla="*/ 1404000 h 1404000"/>
              <a:gd name="connsiteX3" fmla="*/ 0 w 5220000"/>
              <a:gd name="connsiteY3" fmla="*/ 0 h 140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20000" h="1404000">
                <a:moveTo>
                  <a:pt x="0" y="0"/>
                </a:moveTo>
                <a:lnTo>
                  <a:pt x="5220000" y="0"/>
                </a:lnTo>
                <a:lnTo>
                  <a:pt x="0" y="1404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B7243EA-87C5-1D89-7207-56A4E40BAA96}"/>
              </a:ext>
            </a:extLst>
          </p:cNvPr>
          <p:cNvSpPr/>
          <p:nvPr userDrawn="1"/>
        </p:nvSpPr>
        <p:spPr>
          <a:xfrm>
            <a:off x="5544000" y="0"/>
            <a:ext cx="5148000" cy="6011863"/>
          </a:xfrm>
          <a:custGeom>
            <a:avLst/>
            <a:gdLst>
              <a:gd name="connsiteX0" fmla="*/ 0 w 5148000"/>
              <a:gd name="connsiteY0" fmla="*/ 0 h 6011863"/>
              <a:gd name="connsiteX1" fmla="*/ 5148000 w 5148000"/>
              <a:gd name="connsiteY1" fmla="*/ 0 h 6011863"/>
              <a:gd name="connsiteX2" fmla="*/ 5148000 w 5148000"/>
              <a:gd name="connsiteY2" fmla="*/ 6011863 h 6011863"/>
              <a:gd name="connsiteX3" fmla="*/ 0 w 5148000"/>
              <a:gd name="connsiteY3" fmla="*/ 6011863 h 6011863"/>
              <a:gd name="connsiteX4" fmla="*/ 0 w 5148000"/>
              <a:gd name="connsiteY4" fmla="*/ 0 h 6011863"/>
              <a:gd name="connsiteX0" fmla="*/ 1609725 w 5148000"/>
              <a:gd name="connsiteY0" fmla="*/ 0 h 6011863"/>
              <a:gd name="connsiteX1" fmla="*/ 5148000 w 5148000"/>
              <a:gd name="connsiteY1" fmla="*/ 0 h 6011863"/>
              <a:gd name="connsiteX2" fmla="*/ 5148000 w 5148000"/>
              <a:gd name="connsiteY2" fmla="*/ 6011863 h 6011863"/>
              <a:gd name="connsiteX3" fmla="*/ 0 w 5148000"/>
              <a:gd name="connsiteY3" fmla="*/ 6011863 h 6011863"/>
              <a:gd name="connsiteX4" fmla="*/ 1609725 w 5148000"/>
              <a:gd name="connsiteY4" fmla="*/ 0 h 6011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48000" h="6011863">
                <a:moveTo>
                  <a:pt x="1609725" y="0"/>
                </a:moveTo>
                <a:lnTo>
                  <a:pt x="5148000" y="0"/>
                </a:lnTo>
                <a:lnTo>
                  <a:pt x="5148000" y="6011863"/>
                </a:lnTo>
                <a:lnTo>
                  <a:pt x="0" y="6011863"/>
                </a:lnTo>
                <a:lnTo>
                  <a:pt x="1609725" y="0"/>
                </a:lnTo>
                <a:close/>
              </a:path>
            </a:pathLst>
          </a:cu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4BD390AB-1E56-E27C-3435-30045855478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41200" y="5659200"/>
            <a:ext cx="1002857" cy="108000"/>
          </a:xfrm>
          <a:prstGeom prst="rect">
            <a:avLst/>
          </a:prstGeom>
        </p:spPr>
      </p:pic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264"/>
          <a:ext cx="1587" cy="12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9" imgH="398" progId="TCLayout.ActiveDocument.1">
                  <p:embed/>
                </p:oleObj>
              </mc:Choice>
              <mc:Fallback>
                <p:oleObj name="think-cell Slide" r:id="rId5" imgW="399" imgH="398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264"/>
                        <a:ext cx="1587" cy="12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 userDrawn="1">
            <p:ph type="title" hasCustomPrompt="1"/>
          </p:nvPr>
        </p:nvSpPr>
        <p:spPr>
          <a:xfrm>
            <a:off x="449263" y="1314450"/>
            <a:ext cx="5256000" cy="4031550"/>
          </a:xfrm>
        </p:spPr>
        <p:txBody>
          <a:bodyPr anchor="t" anchorCtr="0">
            <a:noAutofit/>
          </a:bodyPr>
          <a:lstStyle>
            <a:lvl1pPr>
              <a:lnSpc>
                <a:spcPts val="6000"/>
              </a:lnSpc>
              <a:defRPr sz="6000" b="0" cap="none" baseline="0">
                <a:solidFill>
                  <a:schemeClr val="accent1"/>
                </a:solidFill>
                <a:latin typeface="SKODA Next Light" panose="020B0304020603020204" pitchFamily="34" charset="0"/>
              </a:defRPr>
            </a:lvl1pPr>
          </a:lstStyle>
          <a:p>
            <a:r>
              <a:rPr lang="cs-CZ" noProof="0"/>
              <a:t>Děkuji</a:t>
            </a:r>
            <a:endParaRPr lang="cs-CZ" noProof="0" dirty="0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BD0962D-1E63-FEDE-6F59-D9BA7276969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434788" y="1314450"/>
            <a:ext cx="1152000" cy="1548000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chemeClr val="accent2"/>
                </a:solidFill>
              </a:defRPr>
            </a:lvl1pPr>
          </a:lstStyle>
          <a:p>
            <a:r>
              <a:rPr lang="cs-CZ"/>
              <a:t>Obrázek</a:t>
            </a:r>
            <a:endParaRPr lang="cs-CZ" dirty="0"/>
          </a:p>
        </p:txBody>
      </p:sp>
      <p:sp>
        <p:nvSpPr>
          <p:cNvPr id="18" name="Picture Placeholder 16">
            <a:extLst>
              <a:ext uri="{FF2B5EF4-FFF2-40B4-BE49-F238E27FC236}">
                <a16:creationId xmlns:a16="http://schemas.microsoft.com/office/drawing/2014/main" id="{A153B96D-10A9-DB89-FDE8-61ADD55197E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090550" y="1314450"/>
            <a:ext cx="1152000" cy="1548000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chemeClr val="accent2"/>
                </a:solidFill>
              </a:defRPr>
            </a:lvl1pPr>
          </a:lstStyle>
          <a:p>
            <a:r>
              <a:rPr lang="cs-CZ"/>
              <a:t>Obrázek</a:t>
            </a:r>
            <a:endParaRPr lang="cs-CZ" dirty="0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EE0344C5-D699-2FB3-554F-5651999873C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434787" y="2970000"/>
            <a:ext cx="1152001" cy="14400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9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cs-CZ" noProof="1"/>
              <a:t>Jméno Příjmení</a:t>
            </a:r>
          </a:p>
        </p:txBody>
      </p:sp>
      <p:sp>
        <p:nvSpPr>
          <p:cNvPr id="21" name="Text Placeholder 19">
            <a:extLst>
              <a:ext uri="{FF2B5EF4-FFF2-40B4-BE49-F238E27FC236}">
                <a16:creationId xmlns:a16="http://schemas.microsoft.com/office/drawing/2014/main" id="{2EF5C1AF-6DA5-ED65-5351-59EBC96FD06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434786" y="3112875"/>
            <a:ext cx="1152001" cy="14400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900">
                <a:solidFill>
                  <a:schemeClr val="accent2"/>
                </a:solidFill>
              </a:defRPr>
            </a:lvl1pPr>
          </a:lstStyle>
          <a:p>
            <a:pPr lvl="0"/>
            <a:r>
              <a:rPr lang="cs-CZ" noProof="1"/>
              <a:t>Pozice</a:t>
            </a:r>
          </a:p>
        </p:txBody>
      </p:sp>
      <p:sp>
        <p:nvSpPr>
          <p:cNvPr id="22" name="Text Placeholder 19">
            <a:extLst>
              <a:ext uri="{FF2B5EF4-FFF2-40B4-BE49-F238E27FC236}">
                <a16:creationId xmlns:a16="http://schemas.microsoft.com/office/drawing/2014/main" id="{92F09B2E-02DD-B1B0-D4FE-7743F865D39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088456" y="2970000"/>
            <a:ext cx="1152001" cy="14400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9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cs-CZ" noProof="1"/>
              <a:t>Jméno Příjmení</a:t>
            </a:r>
          </a:p>
        </p:txBody>
      </p:sp>
      <p:sp>
        <p:nvSpPr>
          <p:cNvPr id="23" name="Text Placeholder 19">
            <a:extLst>
              <a:ext uri="{FF2B5EF4-FFF2-40B4-BE49-F238E27FC236}">
                <a16:creationId xmlns:a16="http://schemas.microsoft.com/office/drawing/2014/main" id="{49B1DC85-4192-09B6-D800-266CEE24849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88455" y="3112875"/>
            <a:ext cx="1152001" cy="14400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900">
                <a:solidFill>
                  <a:schemeClr val="accent2"/>
                </a:solidFill>
              </a:defRPr>
            </a:lvl1pPr>
          </a:lstStyle>
          <a:p>
            <a:pPr lvl="0"/>
            <a:r>
              <a:rPr lang="cs-CZ" noProof="1"/>
              <a:t>Pozice</a:t>
            </a:r>
          </a:p>
        </p:txBody>
      </p:sp>
      <p:sp>
        <p:nvSpPr>
          <p:cNvPr id="24" name="Text Placeholder 19">
            <a:extLst>
              <a:ext uri="{FF2B5EF4-FFF2-40B4-BE49-F238E27FC236}">
                <a16:creationId xmlns:a16="http://schemas.microsoft.com/office/drawing/2014/main" id="{ABE8CAFB-0160-0A8F-FB22-C93DDF69CC6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56000" y="4464000"/>
            <a:ext cx="4086000" cy="882000"/>
          </a:xfr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buNone/>
              <a:defRPr sz="14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cs-CZ" noProof="1"/>
              <a:t>tř. Václava Klementa 869 Mladá Boleslav II</a:t>
            </a:r>
            <a:br>
              <a:rPr lang="cs-CZ" noProof="1"/>
            </a:br>
            <a:r>
              <a:rPr lang="cs-CZ" noProof="1"/>
              <a:t>293 01 Czech Republic</a:t>
            </a:r>
          </a:p>
        </p:txBody>
      </p:sp>
      <p:sp>
        <p:nvSpPr>
          <p:cNvPr id="25" name="Text Placeholder 19">
            <a:extLst>
              <a:ext uri="{FF2B5EF4-FFF2-40B4-BE49-F238E27FC236}">
                <a16:creationId xmlns:a16="http://schemas.microsoft.com/office/drawing/2014/main" id="{A98C13C5-D07A-AACD-353F-E0DD8400F3D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56550" y="4266000"/>
            <a:ext cx="4086000" cy="198000"/>
          </a:xfr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buNone/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cs-CZ" noProof="1"/>
              <a:t>Škoda Auto a.s.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36566C6-F354-0ABD-6A11-3BE97825439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846000" y="5598000"/>
            <a:ext cx="4698000" cy="180000"/>
          </a:xfrm>
        </p:spPr>
        <p:txBody>
          <a:bodyPr>
            <a:norm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S15 | 08.06.2023 | Future city tech | VTO | Miroslav Holan</a:t>
            </a:r>
            <a:endParaRPr lang="cs-CZ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D216088-5F02-69F6-F3F3-D16FE1E30EFB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6261266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ADB3A0F4-8FD1-BB33-A8B9-BD088CAF92A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39693" y="5657211"/>
            <a:ext cx="1002857" cy="108000"/>
          </a:xfrm>
          <a:prstGeom prst="rect">
            <a:avLst/>
          </a:prstGeom>
        </p:spPr>
      </p:pic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802F308-AC92-5DF3-874F-EFBBB2062E7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418138" y="0"/>
            <a:ext cx="5273675" cy="6011863"/>
          </a:xfrm>
          <a:custGeom>
            <a:avLst/>
            <a:gdLst>
              <a:gd name="connsiteX0" fmla="*/ 4487654 w 5273675"/>
              <a:gd name="connsiteY0" fmla="*/ 5682866 h 6011863"/>
              <a:gd name="connsiteX1" fmla="*/ 4551760 w 5273675"/>
              <a:gd name="connsiteY1" fmla="*/ 5682866 h 6011863"/>
              <a:gd name="connsiteX2" fmla="*/ 4569114 w 5273675"/>
              <a:gd name="connsiteY2" fmla="*/ 5699607 h 6011863"/>
              <a:gd name="connsiteX3" fmla="*/ 4569114 w 5273675"/>
              <a:gd name="connsiteY3" fmla="*/ 5727577 h 6011863"/>
              <a:gd name="connsiteX4" fmla="*/ 4551760 w 5273675"/>
              <a:gd name="connsiteY4" fmla="*/ 5744318 h 6011863"/>
              <a:gd name="connsiteX5" fmla="*/ 4487654 w 5273675"/>
              <a:gd name="connsiteY5" fmla="*/ 5744318 h 6011863"/>
              <a:gd name="connsiteX6" fmla="*/ 4272791 w 5273675"/>
              <a:gd name="connsiteY6" fmla="*/ 5682866 h 6011863"/>
              <a:gd name="connsiteX7" fmla="*/ 4326893 w 5273675"/>
              <a:gd name="connsiteY7" fmla="*/ 5682866 h 6011863"/>
              <a:gd name="connsiteX8" fmla="*/ 4343022 w 5273675"/>
              <a:gd name="connsiteY8" fmla="*/ 5698586 h 6011863"/>
              <a:gd name="connsiteX9" fmla="*/ 4343022 w 5273675"/>
              <a:gd name="connsiteY9" fmla="*/ 5728598 h 6011863"/>
              <a:gd name="connsiteX10" fmla="*/ 4326893 w 5273675"/>
              <a:gd name="connsiteY10" fmla="*/ 5744318 h 6011863"/>
              <a:gd name="connsiteX11" fmla="*/ 4272791 w 5273675"/>
              <a:gd name="connsiteY11" fmla="*/ 5744318 h 6011863"/>
              <a:gd name="connsiteX12" fmla="*/ 4256662 w 5273675"/>
              <a:gd name="connsiteY12" fmla="*/ 5728598 h 6011863"/>
              <a:gd name="connsiteX13" fmla="*/ 4256662 w 5273675"/>
              <a:gd name="connsiteY13" fmla="*/ 5698586 h 6011863"/>
              <a:gd name="connsiteX14" fmla="*/ 4272791 w 5273675"/>
              <a:gd name="connsiteY14" fmla="*/ 5682866 h 6011863"/>
              <a:gd name="connsiteX15" fmla="*/ 4745604 w 5273675"/>
              <a:gd name="connsiteY15" fmla="*/ 5679803 h 6011863"/>
              <a:gd name="connsiteX16" fmla="*/ 4771539 w 5273675"/>
              <a:gd name="connsiteY16" fmla="*/ 5725739 h 6011863"/>
              <a:gd name="connsiteX17" fmla="*/ 4719676 w 5273675"/>
              <a:gd name="connsiteY17" fmla="*/ 5725739 h 6011863"/>
              <a:gd name="connsiteX18" fmla="*/ 4728046 w 5273675"/>
              <a:gd name="connsiteY18" fmla="*/ 5659592 h 6011863"/>
              <a:gd name="connsiteX19" fmla="*/ 4667412 w 5273675"/>
              <a:gd name="connsiteY19" fmla="*/ 5767592 h 6011863"/>
              <a:gd name="connsiteX20" fmla="*/ 4696202 w 5273675"/>
              <a:gd name="connsiteY20" fmla="*/ 5767592 h 6011863"/>
              <a:gd name="connsiteX21" fmla="*/ 4719067 w 5273675"/>
              <a:gd name="connsiteY21" fmla="*/ 5726964 h 6011863"/>
              <a:gd name="connsiteX22" fmla="*/ 4732952 w 5273675"/>
              <a:gd name="connsiteY22" fmla="*/ 5749014 h 6011863"/>
              <a:gd name="connsiteX23" fmla="*/ 4784600 w 5273675"/>
              <a:gd name="connsiteY23" fmla="*/ 5749014 h 6011863"/>
              <a:gd name="connsiteX24" fmla="*/ 4795014 w 5273675"/>
              <a:gd name="connsiteY24" fmla="*/ 5767592 h 6011863"/>
              <a:gd name="connsiteX25" fmla="*/ 4824413 w 5273675"/>
              <a:gd name="connsiteY25" fmla="*/ 5767592 h 6011863"/>
              <a:gd name="connsiteX26" fmla="*/ 4763779 w 5273675"/>
              <a:gd name="connsiteY26" fmla="*/ 5659592 h 6011863"/>
              <a:gd name="connsiteX27" fmla="*/ 4461930 w 5273675"/>
              <a:gd name="connsiteY27" fmla="*/ 5659592 h 6011863"/>
              <a:gd name="connsiteX28" fmla="*/ 4461930 w 5273675"/>
              <a:gd name="connsiteY28" fmla="*/ 5767592 h 6011863"/>
              <a:gd name="connsiteX29" fmla="*/ 4552373 w 5273675"/>
              <a:gd name="connsiteY29" fmla="*/ 5767592 h 6011863"/>
              <a:gd name="connsiteX30" fmla="*/ 4594836 w 5273675"/>
              <a:gd name="connsiteY30" fmla="*/ 5726352 h 6011863"/>
              <a:gd name="connsiteX31" fmla="*/ 4594836 w 5273675"/>
              <a:gd name="connsiteY31" fmla="*/ 5700832 h 6011863"/>
              <a:gd name="connsiteX32" fmla="*/ 4552373 w 5273675"/>
              <a:gd name="connsiteY32" fmla="*/ 5659592 h 6011863"/>
              <a:gd name="connsiteX33" fmla="*/ 4272178 w 5273675"/>
              <a:gd name="connsiteY33" fmla="*/ 5659592 h 6011863"/>
              <a:gd name="connsiteX34" fmla="*/ 4230938 w 5273675"/>
              <a:gd name="connsiteY34" fmla="*/ 5699811 h 6011863"/>
              <a:gd name="connsiteX35" fmla="*/ 4230938 w 5273675"/>
              <a:gd name="connsiteY35" fmla="*/ 5727373 h 6011863"/>
              <a:gd name="connsiteX36" fmla="*/ 4272178 w 5273675"/>
              <a:gd name="connsiteY36" fmla="*/ 5767592 h 6011863"/>
              <a:gd name="connsiteX37" fmla="*/ 4327505 w 5273675"/>
              <a:gd name="connsiteY37" fmla="*/ 5767592 h 6011863"/>
              <a:gd name="connsiteX38" fmla="*/ 4368746 w 5273675"/>
              <a:gd name="connsiteY38" fmla="*/ 5727373 h 6011863"/>
              <a:gd name="connsiteX39" fmla="*/ 4368746 w 5273675"/>
              <a:gd name="connsiteY39" fmla="*/ 5699811 h 6011863"/>
              <a:gd name="connsiteX40" fmla="*/ 4327505 w 5273675"/>
              <a:gd name="connsiteY40" fmla="*/ 5659592 h 6011863"/>
              <a:gd name="connsiteX41" fmla="*/ 4029150 w 5273675"/>
              <a:gd name="connsiteY41" fmla="*/ 5659592 h 6011863"/>
              <a:gd name="connsiteX42" fmla="*/ 4029150 w 5273675"/>
              <a:gd name="connsiteY42" fmla="*/ 5767592 h 6011863"/>
              <a:gd name="connsiteX43" fmla="*/ 4054875 w 5273675"/>
              <a:gd name="connsiteY43" fmla="*/ 5767592 h 6011863"/>
              <a:gd name="connsiteX44" fmla="*/ 4054875 w 5273675"/>
              <a:gd name="connsiteY44" fmla="*/ 5724923 h 6011863"/>
              <a:gd name="connsiteX45" fmla="*/ 4087949 w 5273675"/>
              <a:gd name="connsiteY45" fmla="*/ 5724923 h 6011863"/>
              <a:gd name="connsiteX46" fmla="*/ 4132251 w 5273675"/>
              <a:gd name="connsiteY46" fmla="*/ 5767592 h 6011863"/>
              <a:gd name="connsiteX47" fmla="*/ 4168387 w 5273675"/>
              <a:gd name="connsiteY47" fmla="*/ 5767592 h 6011863"/>
              <a:gd name="connsiteX48" fmla="*/ 4111018 w 5273675"/>
              <a:gd name="connsiteY48" fmla="*/ 5713286 h 6011863"/>
              <a:gd name="connsiteX49" fmla="*/ 4167367 w 5273675"/>
              <a:gd name="connsiteY49" fmla="*/ 5659592 h 6011863"/>
              <a:gd name="connsiteX50" fmla="*/ 4133272 w 5273675"/>
              <a:gd name="connsiteY50" fmla="*/ 5659592 h 6011863"/>
              <a:gd name="connsiteX51" fmla="*/ 4088969 w 5273675"/>
              <a:gd name="connsiteY51" fmla="*/ 5701649 h 6011863"/>
              <a:gd name="connsiteX52" fmla="*/ 4054875 w 5273675"/>
              <a:gd name="connsiteY52" fmla="*/ 5701649 h 6011863"/>
              <a:gd name="connsiteX53" fmla="*/ 4054875 w 5273675"/>
              <a:gd name="connsiteY53" fmla="*/ 5659592 h 6011863"/>
              <a:gd name="connsiteX54" fmla="*/ 3860550 w 5273675"/>
              <a:gd name="connsiteY54" fmla="*/ 5659592 h 6011863"/>
              <a:gd name="connsiteX55" fmla="*/ 3875250 w 5273675"/>
              <a:gd name="connsiteY55" fmla="*/ 5682049 h 6011863"/>
              <a:gd name="connsiteX56" fmla="*/ 3935069 w 5273675"/>
              <a:gd name="connsiteY56" fmla="*/ 5682049 h 6011863"/>
              <a:gd name="connsiteX57" fmla="*/ 3949360 w 5273675"/>
              <a:gd name="connsiteY57" fmla="*/ 5659592 h 6011863"/>
              <a:gd name="connsiteX58" fmla="*/ 3848301 w 5273675"/>
              <a:gd name="connsiteY58" fmla="*/ 5659592 h 6011863"/>
              <a:gd name="connsiteX59" fmla="*/ 3824619 w 5273675"/>
              <a:gd name="connsiteY59" fmla="*/ 5684499 h 6011863"/>
              <a:gd name="connsiteX60" fmla="*/ 3824619 w 5273675"/>
              <a:gd name="connsiteY60" fmla="*/ 5693482 h 6011863"/>
              <a:gd name="connsiteX61" fmla="*/ 3855242 w 5273675"/>
              <a:gd name="connsiteY61" fmla="*/ 5723698 h 6011863"/>
              <a:gd name="connsiteX62" fmla="*/ 3926494 w 5273675"/>
              <a:gd name="connsiteY62" fmla="*/ 5723698 h 6011863"/>
              <a:gd name="connsiteX63" fmla="*/ 3926494 w 5273675"/>
              <a:gd name="connsiteY63" fmla="*/ 5736968 h 6011863"/>
              <a:gd name="connsiteX64" fmla="*/ 3918736 w 5273675"/>
              <a:gd name="connsiteY64" fmla="*/ 5744726 h 6011863"/>
              <a:gd name="connsiteX65" fmla="*/ 3835847 w 5273675"/>
              <a:gd name="connsiteY65" fmla="*/ 5744726 h 6011863"/>
              <a:gd name="connsiteX66" fmla="*/ 3821556 w 5273675"/>
              <a:gd name="connsiteY66" fmla="*/ 5767592 h 6011863"/>
              <a:gd name="connsiteX67" fmla="*/ 3921186 w 5273675"/>
              <a:gd name="connsiteY67" fmla="*/ 5767592 h 6011863"/>
              <a:gd name="connsiteX68" fmla="*/ 3951810 w 5273675"/>
              <a:gd name="connsiteY68" fmla="*/ 5737377 h 6011863"/>
              <a:gd name="connsiteX69" fmla="*/ 3951810 w 5273675"/>
              <a:gd name="connsiteY69" fmla="*/ 5725535 h 6011863"/>
              <a:gd name="connsiteX70" fmla="*/ 3926698 w 5273675"/>
              <a:gd name="connsiteY70" fmla="*/ 5700832 h 6011863"/>
              <a:gd name="connsiteX71" fmla="*/ 3857692 w 5273675"/>
              <a:gd name="connsiteY71" fmla="*/ 5700832 h 6011863"/>
              <a:gd name="connsiteX72" fmla="*/ 3849934 w 5273675"/>
              <a:gd name="connsiteY72" fmla="*/ 5693074 h 6011863"/>
              <a:gd name="connsiteX73" fmla="*/ 3849934 w 5273675"/>
              <a:gd name="connsiteY73" fmla="*/ 5659592 h 6011863"/>
              <a:gd name="connsiteX74" fmla="*/ 0 w 5273675"/>
              <a:gd name="connsiteY74" fmla="*/ 0 h 6011863"/>
              <a:gd name="connsiteX75" fmla="*/ 5273675 w 5273675"/>
              <a:gd name="connsiteY75" fmla="*/ 0 h 6011863"/>
              <a:gd name="connsiteX76" fmla="*/ 5273675 w 5273675"/>
              <a:gd name="connsiteY76" fmla="*/ 6011863 h 6011863"/>
              <a:gd name="connsiteX77" fmla="*/ 0 w 5273675"/>
              <a:gd name="connsiteY77" fmla="*/ 6011863 h 6011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</a:cxnLst>
            <a:rect l="l" t="t" r="r" b="b"/>
            <a:pathLst>
              <a:path w="5273675" h="6011863">
                <a:moveTo>
                  <a:pt x="4487654" y="5682866"/>
                </a:moveTo>
                <a:lnTo>
                  <a:pt x="4551760" y="5682866"/>
                </a:lnTo>
                <a:cubicBezTo>
                  <a:pt x="4562377" y="5682866"/>
                  <a:pt x="4569114" y="5689399"/>
                  <a:pt x="4569114" y="5699607"/>
                </a:cubicBezTo>
                <a:lnTo>
                  <a:pt x="4569114" y="5727577"/>
                </a:lnTo>
                <a:cubicBezTo>
                  <a:pt x="4569114" y="5737785"/>
                  <a:pt x="4562377" y="5744318"/>
                  <a:pt x="4551760" y="5744318"/>
                </a:cubicBezTo>
                <a:lnTo>
                  <a:pt x="4487654" y="5744318"/>
                </a:lnTo>
                <a:close/>
                <a:moveTo>
                  <a:pt x="4272791" y="5682866"/>
                </a:moveTo>
                <a:lnTo>
                  <a:pt x="4326893" y="5682866"/>
                </a:lnTo>
                <a:cubicBezTo>
                  <a:pt x="4336692" y="5682866"/>
                  <a:pt x="4343022" y="5688991"/>
                  <a:pt x="4343022" y="5698586"/>
                </a:cubicBezTo>
                <a:lnTo>
                  <a:pt x="4343022" y="5728598"/>
                </a:lnTo>
                <a:cubicBezTo>
                  <a:pt x="4343022" y="5738194"/>
                  <a:pt x="4336692" y="5744318"/>
                  <a:pt x="4326893" y="5744318"/>
                </a:cubicBezTo>
                <a:lnTo>
                  <a:pt x="4272791" y="5744318"/>
                </a:lnTo>
                <a:cubicBezTo>
                  <a:pt x="4262991" y="5744318"/>
                  <a:pt x="4256662" y="5738193"/>
                  <a:pt x="4256662" y="5728598"/>
                </a:cubicBezTo>
                <a:lnTo>
                  <a:pt x="4256662" y="5698586"/>
                </a:lnTo>
                <a:cubicBezTo>
                  <a:pt x="4256662" y="5688991"/>
                  <a:pt x="4262991" y="5682866"/>
                  <a:pt x="4272791" y="5682866"/>
                </a:cubicBezTo>
                <a:close/>
                <a:moveTo>
                  <a:pt x="4745604" y="5679803"/>
                </a:moveTo>
                <a:lnTo>
                  <a:pt x="4771539" y="5725739"/>
                </a:lnTo>
                <a:lnTo>
                  <a:pt x="4719676" y="5725739"/>
                </a:lnTo>
                <a:close/>
                <a:moveTo>
                  <a:pt x="4728046" y="5659592"/>
                </a:moveTo>
                <a:lnTo>
                  <a:pt x="4667412" y="5767592"/>
                </a:lnTo>
                <a:lnTo>
                  <a:pt x="4696202" y="5767592"/>
                </a:lnTo>
                <a:lnTo>
                  <a:pt x="4719067" y="5726964"/>
                </a:lnTo>
                <a:lnTo>
                  <a:pt x="4732952" y="5749014"/>
                </a:lnTo>
                <a:lnTo>
                  <a:pt x="4784600" y="5749014"/>
                </a:lnTo>
                <a:lnTo>
                  <a:pt x="4795014" y="5767592"/>
                </a:lnTo>
                <a:lnTo>
                  <a:pt x="4824413" y="5767592"/>
                </a:lnTo>
                <a:lnTo>
                  <a:pt x="4763779" y="5659592"/>
                </a:lnTo>
                <a:close/>
                <a:moveTo>
                  <a:pt x="4461930" y="5659592"/>
                </a:moveTo>
                <a:lnTo>
                  <a:pt x="4461930" y="5767592"/>
                </a:lnTo>
                <a:lnTo>
                  <a:pt x="4552373" y="5767592"/>
                </a:lnTo>
                <a:cubicBezTo>
                  <a:pt x="4579322" y="5767592"/>
                  <a:pt x="4594836" y="5752076"/>
                  <a:pt x="4594836" y="5726352"/>
                </a:cubicBezTo>
                <a:lnTo>
                  <a:pt x="4594836" y="5700832"/>
                </a:lnTo>
                <a:cubicBezTo>
                  <a:pt x="4594836" y="5675108"/>
                  <a:pt x="4579322" y="5659592"/>
                  <a:pt x="4552373" y="5659592"/>
                </a:cubicBezTo>
                <a:close/>
                <a:moveTo>
                  <a:pt x="4272178" y="5659592"/>
                </a:moveTo>
                <a:cubicBezTo>
                  <a:pt x="4246045" y="5659592"/>
                  <a:pt x="4230938" y="5674700"/>
                  <a:pt x="4230938" y="5699811"/>
                </a:cubicBezTo>
                <a:lnTo>
                  <a:pt x="4230938" y="5727373"/>
                </a:lnTo>
                <a:cubicBezTo>
                  <a:pt x="4230938" y="5752484"/>
                  <a:pt x="4246046" y="5767592"/>
                  <a:pt x="4272178" y="5767592"/>
                </a:cubicBezTo>
                <a:lnTo>
                  <a:pt x="4327505" y="5767592"/>
                </a:lnTo>
                <a:cubicBezTo>
                  <a:pt x="4353638" y="5767592"/>
                  <a:pt x="4368746" y="5752484"/>
                  <a:pt x="4368746" y="5727373"/>
                </a:cubicBezTo>
                <a:lnTo>
                  <a:pt x="4368746" y="5699811"/>
                </a:lnTo>
                <a:cubicBezTo>
                  <a:pt x="4368746" y="5674700"/>
                  <a:pt x="4353637" y="5659592"/>
                  <a:pt x="4327505" y="5659592"/>
                </a:cubicBezTo>
                <a:close/>
                <a:moveTo>
                  <a:pt x="4029150" y="5659592"/>
                </a:moveTo>
                <a:lnTo>
                  <a:pt x="4029150" y="5767592"/>
                </a:lnTo>
                <a:lnTo>
                  <a:pt x="4054875" y="5767592"/>
                </a:lnTo>
                <a:lnTo>
                  <a:pt x="4054875" y="5724923"/>
                </a:lnTo>
                <a:lnTo>
                  <a:pt x="4087949" y="5724923"/>
                </a:lnTo>
                <a:lnTo>
                  <a:pt x="4132251" y="5767592"/>
                </a:lnTo>
                <a:lnTo>
                  <a:pt x="4168387" y="5767592"/>
                </a:lnTo>
                <a:lnTo>
                  <a:pt x="4111018" y="5713286"/>
                </a:lnTo>
                <a:lnTo>
                  <a:pt x="4167367" y="5659592"/>
                </a:lnTo>
                <a:lnTo>
                  <a:pt x="4133272" y="5659592"/>
                </a:lnTo>
                <a:lnTo>
                  <a:pt x="4088969" y="5701649"/>
                </a:lnTo>
                <a:lnTo>
                  <a:pt x="4054875" y="5701649"/>
                </a:lnTo>
                <a:lnTo>
                  <a:pt x="4054875" y="5659592"/>
                </a:lnTo>
                <a:close/>
                <a:moveTo>
                  <a:pt x="3860550" y="5659592"/>
                </a:moveTo>
                <a:lnTo>
                  <a:pt x="3875250" y="5682049"/>
                </a:lnTo>
                <a:lnTo>
                  <a:pt x="3935069" y="5682049"/>
                </a:lnTo>
                <a:lnTo>
                  <a:pt x="3949360" y="5659592"/>
                </a:lnTo>
                <a:close/>
                <a:moveTo>
                  <a:pt x="3848301" y="5659592"/>
                </a:moveTo>
                <a:cubicBezTo>
                  <a:pt x="3833806" y="5659592"/>
                  <a:pt x="3824619" y="5668983"/>
                  <a:pt x="3824619" y="5684499"/>
                </a:cubicBezTo>
                <a:lnTo>
                  <a:pt x="3824619" y="5693482"/>
                </a:lnTo>
                <a:cubicBezTo>
                  <a:pt x="3824619" y="5714307"/>
                  <a:pt x="3834010" y="5723698"/>
                  <a:pt x="3855242" y="5723698"/>
                </a:cubicBezTo>
                <a:lnTo>
                  <a:pt x="3926494" y="5723698"/>
                </a:lnTo>
                <a:lnTo>
                  <a:pt x="3926494" y="5736968"/>
                </a:lnTo>
                <a:cubicBezTo>
                  <a:pt x="3926494" y="5741664"/>
                  <a:pt x="3923432" y="5744726"/>
                  <a:pt x="3918736" y="5744726"/>
                </a:cubicBezTo>
                <a:lnTo>
                  <a:pt x="3835847" y="5744726"/>
                </a:lnTo>
                <a:lnTo>
                  <a:pt x="3821556" y="5767592"/>
                </a:lnTo>
                <a:lnTo>
                  <a:pt x="3921186" y="5767592"/>
                </a:lnTo>
                <a:cubicBezTo>
                  <a:pt x="3941806" y="5767592"/>
                  <a:pt x="3951810" y="5757588"/>
                  <a:pt x="3951810" y="5737377"/>
                </a:cubicBezTo>
                <a:lnTo>
                  <a:pt x="3951810" y="5725535"/>
                </a:lnTo>
                <a:cubicBezTo>
                  <a:pt x="3951810" y="5710223"/>
                  <a:pt x="3942418" y="5700832"/>
                  <a:pt x="3926698" y="5700832"/>
                </a:cubicBezTo>
                <a:lnTo>
                  <a:pt x="3857692" y="5700832"/>
                </a:lnTo>
                <a:cubicBezTo>
                  <a:pt x="3852997" y="5700832"/>
                  <a:pt x="3849934" y="5697770"/>
                  <a:pt x="3849934" y="5693074"/>
                </a:cubicBezTo>
                <a:lnTo>
                  <a:pt x="3849934" y="5659592"/>
                </a:lnTo>
                <a:close/>
                <a:moveTo>
                  <a:pt x="0" y="0"/>
                </a:moveTo>
                <a:lnTo>
                  <a:pt x="5273675" y="0"/>
                </a:lnTo>
                <a:lnTo>
                  <a:pt x="5273675" y="6011863"/>
                </a:lnTo>
                <a:lnTo>
                  <a:pt x="0" y="6011863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Obrázek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310DF32-F382-E76F-052A-ADD2ECABD4D2}"/>
              </a:ext>
            </a:extLst>
          </p:cNvPr>
          <p:cNvSpPr/>
          <p:nvPr userDrawn="1"/>
        </p:nvSpPr>
        <p:spPr>
          <a:xfrm>
            <a:off x="0" y="0"/>
            <a:ext cx="5418138" cy="60118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noProof="0"/>
          </a:p>
        </p:txBody>
      </p:sp>
      <p:sp>
        <p:nvSpPr>
          <p:cNvPr id="3" name="Zástupný symbol pro obsah 2"/>
          <p:cNvSpPr>
            <a:spLocks noGrp="1"/>
          </p:cNvSpPr>
          <p:nvPr>
            <p:ph idx="1" hasCustomPrompt="1"/>
          </p:nvPr>
        </p:nvSpPr>
        <p:spPr>
          <a:xfrm>
            <a:off x="449263" y="1314450"/>
            <a:ext cx="4536000" cy="4032250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/>
              <a:t>První úroveň</a:t>
            </a:r>
          </a:p>
          <a:p>
            <a:pPr lvl="1"/>
            <a:r>
              <a:rPr lang="cs-CZ" noProof="0"/>
              <a:t>Druhá úroveň</a:t>
            </a:r>
          </a:p>
          <a:p>
            <a:pPr lvl="2"/>
            <a:r>
              <a:rPr lang="cs-CZ" noProof="0"/>
              <a:t>Třetí úroveň</a:t>
            </a:r>
          </a:p>
          <a:p>
            <a:pPr lvl="3"/>
            <a:r>
              <a:rPr lang="cs-CZ" noProof="0"/>
              <a:t>Čtvrtá úroveň</a:t>
            </a:r>
          </a:p>
          <a:p>
            <a:pPr lvl="4"/>
            <a:r>
              <a:rPr lang="cs-CZ" noProof="0"/>
              <a:t>Pátá úroveň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en-US" noProof="0"/>
              <a:t>S15 | 08.06.2023 | Future city tech | VTO | Miroslav Holan</a:t>
            </a:r>
            <a:endParaRPr lang="cs-CZ" noProof="0"/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648000"/>
            <a:ext cx="4535999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/>
              <a:t>Podnadpis</a:t>
            </a:r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>
          <a:xfrm>
            <a:off x="449264" y="269875"/>
            <a:ext cx="4535999" cy="360000"/>
          </a:xfrm>
        </p:spPr>
        <p:txBody>
          <a:bodyPr/>
          <a:lstStyle>
            <a:lvl1pPr>
              <a:defRPr/>
            </a:lvl1pPr>
          </a:lstStyle>
          <a:p>
            <a:r>
              <a:rPr lang="cs-CZ" noProof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40590057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en-US" noProof="0"/>
              <a:t>S15 | 08.06.2023 | Future city tech | VTO | Miroslav Holan</a:t>
            </a:r>
            <a:endParaRPr lang="cs-CZ" noProof="0"/>
          </a:p>
        </p:txBody>
      </p:sp>
      <p:sp>
        <p:nvSpPr>
          <p:cNvPr id="9" name="Zástupný symbol pro text 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1314450"/>
            <a:ext cx="3168650" cy="4032250"/>
          </a:xfrm>
        </p:spPr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/>
              <a:t>První úroveň</a:t>
            </a:r>
          </a:p>
          <a:p>
            <a:pPr lvl="1"/>
            <a:r>
              <a:rPr lang="cs-CZ" noProof="0"/>
              <a:t>Druhá úroveň</a:t>
            </a:r>
          </a:p>
          <a:p>
            <a:pPr lvl="2"/>
            <a:r>
              <a:rPr lang="cs-CZ" noProof="0"/>
              <a:t>Třetí úroveň</a:t>
            </a:r>
          </a:p>
          <a:p>
            <a:pPr lvl="3"/>
            <a:r>
              <a:rPr lang="cs-CZ" noProof="0"/>
              <a:t>Čtvrtá úroveň</a:t>
            </a:r>
          </a:p>
          <a:p>
            <a:pPr lvl="4"/>
            <a:r>
              <a:rPr lang="cs-CZ" noProof="0"/>
              <a:t>Pátá úroveň</a:t>
            </a:r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3762375" y="1314450"/>
            <a:ext cx="6480175" cy="4032250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Obrázek</a:t>
            </a:r>
          </a:p>
        </p:txBody>
      </p:sp>
      <p:sp>
        <p:nvSpPr>
          <p:cNvPr id="15" name="Zástupný symbol pro text 28"/>
          <p:cNvSpPr>
            <a:spLocks noGrp="1"/>
          </p:cNvSpPr>
          <p:nvPr>
            <p:ph type="body" sz="quarter" idx="14" hasCustomPrompt="1"/>
          </p:nvPr>
        </p:nvSpPr>
        <p:spPr>
          <a:xfrm>
            <a:off x="449263" y="648000"/>
            <a:ext cx="9793287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/>
              <a:t>Podnadpis</a:t>
            </a:r>
          </a:p>
        </p:txBody>
      </p:sp>
      <p:sp>
        <p:nvSpPr>
          <p:cNvPr id="4" name="Nadpis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34692576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&amp;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en-US" noProof="0"/>
              <a:t>S15 | 08.06.2023 | Future city tech | VTO | Miroslav Holan</a:t>
            </a:r>
            <a:endParaRPr lang="cs-CZ" noProof="0"/>
          </a:p>
        </p:txBody>
      </p:sp>
      <p:sp>
        <p:nvSpPr>
          <p:cNvPr id="6" name="Zástupný symbol pro obrázek 10">
            <a:extLst>
              <a:ext uri="{FF2B5EF4-FFF2-40B4-BE49-F238E27FC236}">
                <a16:creationId xmlns:a16="http://schemas.microsoft.com/office/drawing/2014/main" id="{D342297C-903D-33B7-EE74-B657A96671C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0691813" cy="5346700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Obrázek</a:t>
            </a:r>
          </a:p>
        </p:txBody>
      </p:sp>
    </p:spTree>
    <p:extLst>
      <p:ext uri="{BB962C8B-B14F-4D97-AF65-F5344CB8AC3E}">
        <p14:creationId xmlns:p14="http://schemas.microsoft.com/office/powerpoint/2010/main" val="270585379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en-US" noProof="0"/>
              <a:t>S15 | 08.06.2023 | Future city tech | VTO | Miroslav Holan</a:t>
            </a:r>
            <a:endParaRPr lang="cs-CZ" noProof="0"/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449263" y="900000"/>
            <a:ext cx="9793288" cy="4446700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Obrázek</a:t>
            </a:r>
          </a:p>
        </p:txBody>
      </p:sp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427058875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ástupný symbol pro text 12">
            <a:extLst>
              <a:ext uri="{FF2B5EF4-FFF2-40B4-BE49-F238E27FC236}">
                <a16:creationId xmlns:a16="http://schemas.microsoft.com/office/drawing/2014/main" id="{A6B2640B-D782-F371-CA4F-1DE716E6430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263" y="3834000"/>
            <a:ext cx="3167934" cy="1512000"/>
          </a:xfrm>
        </p:spPr>
        <p:txBody>
          <a:bodyPr anchor="t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/>
              <a:t>Detaily</a:t>
            </a:r>
          </a:p>
        </p:txBody>
      </p:sp>
      <p:sp>
        <p:nvSpPr>
          <p:cNvPr id="10" name="Zástupný symbol pro text 12">
            <a:extLst>
              <a:ext uri="{FF2B5EF4-FFF2-40B4-BE49-F238E27FC236}">
                <a16:creationId xmlns:a16="http://schemas.microsoft.com/office/drawing/2014/main" id="{495C32C4-7CA1-C2BF-FBF5-BF42F7AD34D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62375" y="3834000"/>
            <a:ext cx="3167934" cy="1512000"/>
          </a:xfrm>
        </p:spPr>
        <p:txBody>
          <a:bodyPr anchor="t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/>
              <a:t>Detaily</a:t>
            </a:r>
          </a:p>
        </p:txBody>
      </p:sp>
      <p:sp>
        <p:nvSpPr>
          <p:cNvPr id="21" name="Zástupný symbol pro text 12">
            <a:extLst>
              <a:ext uri="{FF2B5EF4-FFF2-40B4-BE49-F238E27FC236}">
                <a16:creationId xmlns:a16="http://schemas.microsoft.com/office/drawing/2014/main" id="{F9F06556-A77B-B4AC-B11D-2942230DC96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073142" y="3834000"/>
            <a:ext cx="3167934" cy="1512000"/>
          </a:xfrm>
        </p:spPr>
        <p:txBody>
          <a:bodyPr anchor="t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/>
              <a:t>Detaily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en-US" noProof="0"/>
              <a:t>S15 | 08.06.2023 | Future city tech | VTO | Miroslav Holan</a:t>
            </a:r>
            <a:endParaRPr lang="cs-CZ" noProof="0"/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449979" y="1314449"/>
            <a:ext cx="3167934" cy="2087563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Obrázek</a:t>
            </a:r>
          </a:p>
        </p:txBody>
      </p:sp>
      <p:sp>
        <p:nvSpPr>
          <p:cNvPr id="13" name="Zástupný symbol pro text 12"/>
          <p:cNvSpPr>
            <a:spLocks noGrp="1"/>
          </p:cNvSpPr>
          <p:nvPr>
            <p:ph type="body" sz="quarter" idx="14" hasCustomPrompt="1"/>
          </p:nvPr>
        </p:nvSpPr>
        <p:spPr>
          <a:xfrm>
            <a:off x="450000" y="3510000"/>
            <a:ext cx="3167934" cy="216000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 b="1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/>
              <a:t>Titulek</a:t>
            </a:r>
          </a:p>
        </p:txBody>
      </p:sp>
      <p:sp>
        <p:nvSpPr>
          <p:cNvPr id="24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648000"/>
            <a:ext cx="9793287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/>
              <a:t>Podnadpis</a:t>
            </a:r>
          </a:p>
        </p:txBody>
      </p:sp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/>
              <a:t>Nadpis (shrnutí stránky)</a:t>
            </a:r>
          </a:p>
        </p:txBody>
      </p:sp>
      <p:sp>
        <p:nvSpPr>
          <p:cNvPr id="6" name="Zástupný symbol pro obrázek 10">
            <a:extLst>
              <a:ext uri="{FF2B5EF4-FFF2-40B4-BE49-F238E27FC236}">
                <a16:creationId xmlns:a16="http://schemas.microsoft.com/office/drawing/2014/main" id="{4D25A0D5-25EA-D8DF-CB51-891DE68E94D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763091" y="1314449"/>
            <a:ext cx="3167934" cy="2087563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Obrázek</a:t>
            </a:r>
          </a:p>
        </p:txBody>
      </p:sp>
      <p:sp>
        <p:nvSpPr>
          <p:cNvPr id="9" name="Zástupný symbol pro text 12">
            <a:extLst>
              <a:ext uri="{FF2B5EF4-FFF2-40B4-BE49-F238E27FC236}">
                <a16:creationId xmlns:a16="http://schemas.microsoft.com/office/drawing/2014/main" id="{7460970A-5969-77C3-EB7C-1FF997745C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763112" y="3510000"/>
            <a:ext cx="3167934" cy="216000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 b="1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/>
              <a:t>Titulek</a:t>
            </a:r>
          </a:p>
        </p:txBody>
      </p:sp>
      <p:sp>
        <p:nvSpPr>
          <p:cNvPr id="12" name="Zástupný symbol pro obrázek 10">
            <a:extLst>
              <a:ext uri="{FF2B5EF4-FFF2-40B4-BE49-F238E27FC236}">
                <a16:creationId xmlns:a16="http://schemas.microsoft.com/office/drawing/2014/main" id="{4E680B22-40D0-9296-B85E-0D1107B14EC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7073858" y="1314449"/>
            <a:ext cx="3167934" cy="2087563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Obrázek</a:t>
            </a:r>
          </a:p>
        </p:txBody>
      </p:sp>
      <p:sp>
        <p:nvSpPr>
          <p:cNvPr id="20" name="Zástupný symbol pro text 12">
            <a:extLst>
              <a:ext uri="{FF2B5EF4-FFF2-40B4-BE49-F238E27FC236}">
                <a16:creationId xmlns:a16="http://schemas.microsoft.com/office/drawing/2014/main" id="{4DE1D234-3B1E-4C6E-1E4D-8FA494E038D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073879" y="3510000"/>
            <a:ext cx="3167934" cy="216000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 b="1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/>
              <a:t>Titulek</a:t>
            </a:r>
          </a:p>
        </p:txBody>
      </p:sp>
    </p:spTree>
    <p:extLst>
      <p:ext uri="{BB962C8B-B14F-4D97-AF65-F5344CB8AC3E}">
        <p14:creationId xmlns:p14="http://schemas.microsoft.com/office/powerpoint/2010/main" val="3655689045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tli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en-US" noProof="0"/>
              <a:t>S15 | 08.06.2023 | Future city tech | VTO | Miroslav Holan</a:t>
            </a:r>
            <a:endParaRPr lang="cs-CZ" noProof="0"/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449979" y="1314450"/>
            <a:ext cx="4823696" cy="1691100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Obrázek</a:t>
            </a:r>
          </a:p>
        </p:txBody>
      </p:sp>
      <p:sp>
        <p:nvSpPr>
          <p:cNvPr id="13" name="Zástupný symbol pro text 12"/>
          <p:cNvSpPr>
            <a:spLocks noGrp="1"/>
          </p:cNvSpPr>
          <p:nvPr>
            <p:ph type="body" sz="quarter" idx="14" hasCustomPrompt="1"/>
          </p:nvPr>
        </p:nvSpPr>
        <p:spPr>
          <a:xfrm>
            <a:off x="449979" y="3077550"/>
            <a:ext cx="4823696" cy="180000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/>
              <a:t>Titulek</a:t>
            </a:r>
          </a:p>
        </p:txBody>
      </p:sp>
      <p:sp>
        <p:nvSpPr>
          <p:cNvPr id="14" name="Zástupný symbol pro obrázek 10"/>
          <p:cNvSpPr>
            <a:spLocks noGrp="1"/>
          </p:cNvSpPr>
          <p:nvPr>
            <p:ph type="pic" sz="quarter" idx="15" hasCustomPrompt="1"/>
          </p:nvPr>
        </p:nvSpPr>
        <p:spPr>
          <a:xfrm>
            <a:off x="449263" y="3402900"/>
            <a:ext cx="4823696" cy="1691100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Obrázek</a:t>
            </a:r>
          </a:p>
        </p:txBody>
      </p:sp>
      <p:sp>
        <p:nvSpPr>
          <p:cNvPr id="15" name="Zástupný symbol pro text 12"/>
          <p:cNvSpPr>
            <a:spLocks noGrp="1"/>
          </p:cNvSpPr>
          <p:nvPr>
            <p:ph type="body" sz="quarter" idx="16" hasCustomPrompt="1"/>
          </p:nvPr>
        </p:nvSpPr>
        <p:spPr>
          <a:xfrm>
            <a:off x="449263" y="5166000"/>
            <a:ext cx="4823696" cy="180000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/>
              <a:t>Titulek</a:t>
            </a:r>
          </a:p>
        </p:txBody>
      </p:sp>
      <p:sp>
        <p:nvSpPr>
          <p:cNvPr id="16" name="Zástupný symbol pro obrázek 10"/>
          <p:cNvSpPr>
            <a:spLocks noGrp="1"/>
          </p:cNvSpPr>
          <p:nvPr>
            <p:ph type="pic" sz="quarter" idx="17" hasCustomPrompt="1"/>
          </p:nvPr>
        </p:nvSpPr>
        <p:spPr>
          <a:xfrm>
            <a:off x="5419570" y="1314450"/>
            <a:ext cx="4823696" cy="1691100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Obrázek</a:t>
            </a:r>
          </a:p>
        </p:txBody>
      </p:sp>
      <p:sp>
        <p:nvSpPr>
          <p:cNvPr id="17" name="Zástupný symbol pro text 12"/>
          <p:cNvSpPr>
            <a:spLocks noGrp="1"/>
          </p:cNvSpPr>
          <p:nvPr>
            <p:ph type="body" sz="quarter" idx="18" hasCustomPrompt="1"/>
          </p:nvPr>
        </p:nvSpPr>
        <p:spPr>
          <a:xfrm>
            <a:off x="5419570" y="3077550"/>
            <a:ext cx="4823696" cy="180000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/>
              <a:t>Titulek</a:t>
            </a:r>
          </a:p>
        </p:txBody>
      </p:sp>
      <p:sp>
        <p:nvSpPr>
          <p:cNvPr id="18" name="Zástupný symbol pro obrázek 10"/>
          <p:cNvSpPr>
            <a:spLocks noGrp="1"/>
          </p:cNvSpPr>
          <p:nvPr>
            <p:ph type="pic" sz="quarter" idx="19" hasCustomPrompt="1"/>
          </p:nvPr>
        </p:nvSpPr>
        <p:spPr>
          <a:xfrm>
            <a:off x="5418854" y="3402900"/>
            <a:ext cx="4823696" cy="1691100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Obrázek</a:t>
            </a:r>
          </a:p>
        </p:txBody>
      </p:sp>
      <p:sp>
        <p:nvSpPr>
          <p:cNvPr id="19" name="Zástupný symbol pro text 12"/>
          <p:cNvSpPr>
            <a:spLocks noGrp="1"/>
          </p:cNvSpPr>
          <p:nvPr>
            <p:ph type="body" sz="quarter" idx="20" hasCustomPrompt="1"/>
          </p:nvPr>
        </p:nvSpPr>
        <p:spPr>
          <a:xfrm>
            <a:off x="5418854" y="5166000"/>
            <a:ext cx="4823696" cy="180000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/>
              <a:t>Titulek</a:t>
            </a:r>
          </a:p>
        </p:txBody>
      </p:sp>
      <p:sp>
        <p:nvSpPr>
          <p:cNvPr id="24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648000"/>
            <a:ext cx="9793287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/>
              <a:t>Podnadpis</a:t>
            </a:r>
          </a:p>
        </p:txBody>
      </p:sp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156304334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pro číslo snímku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7" name="Zástupný symbol pro zápatí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en-US" noProof="0"/>
              <a:t>S15 | 08.06.2023 | Future city tech | VTO | Miroslav Holan</a:t>
            </a:r>
            <a:endParaRPr lang="cs-CZ" noProof="0"/>
          </a:p>
        </p:txBody>
      </p:sp>
      <p:sp>
        <p:nvSpPr>
          <p:cNvPr id="10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648000"/>
            <a:ext cx="9793288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/>
              <a:t>Podnadpis</a:t>
            </a:r>
          </a:p>
        </p:txBody>
      </p:sp>
      <p:sp>
        <p:nvSpPr>
          <p:cNvPr id="3" name="Nadpis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cs-CZ" noProof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131840361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Emeral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EE04D5E7-7402-1B77-3F07-B7B9A28ED3A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41200" y="5659200"/>
            <a:ext cx="1002857" cy="108000"/>
          </a:xfrm>
          <a:prstGeom prst="rect">
            <a:avLst/>
          </a:prstGeom>
        </p:spPr>
      </p:pic>
      <p:sp>
        <p:nvSpPr>
          <p:cNvPr id="6" name="Zástupný symbol pro číslo snímku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7" name="Zástupný symbol pro zápatí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  <a:latin typeface="SKODA Next" panose="020B0504020603020204" pitchFamily="34" charset="0"/>
              </a:defRPr>
            </a:lvl1pPr>
          </a:lstStyle>
          <a:p>
            <a:r>
              <a:rPr lang="en-US" noProof="0"/>
              <a:t>S15 | 08.06.2023 | Future city tech | VTO | Miroslav Holan</a:t>
            </a:r>
            <a:endParaRPr lang="cs-CZ" noProof="0"/>
          </a:p>
        </p:txBody>
      </p:sp>
      <p:sp>
        <p:nvSpPr>
          <p:cNvPr id="10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648000"/>
            <a:ext cx="9793288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cs-CZ" noProof="0"/>
              <a:t>Podnadpis</a:t>
            </a:r>
          </a:p>
        </p:txBody>
      </p:sp>
      <p:sp>
        <p:nvSpPr>
          <p:cNvPr id="3" name="Nadpis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accent2"/>
                </a:solidFill>
              </a:defRPr>
            </a:lvl1pPr>
          </a:lstStyle>
          <a:p>
            <a:r>
              <a:rPr lang="cs-CZ" noProof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1865055536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Electric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CBC3C684-5239-0E95-9F6B-4AF6E908E5F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39693" y="5660476"/>
            <a:ext cx="1002857" cy="108000"/>
          </a:xfrm>
          <a:prstGeom prst="rect">
            <a:avLst/>
          </a:prstGeom>
        </p:spPr>
      </p:pic>
      <p:sp>
        <p:nvSpPr>
          <p:cNvPr id="6" name="Zástupný symbol pro číslo snímku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7" name="Zástupný symbol pro zápatí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en-US" noProof="0"/>
              <a:t>S15 | 08.06.2023 | Future city tech | VTO | Miroslav Holan</a:t>
            </a:r>
            <a:endParaRPr lang="cs-CZ" noProof="0"/>
          </a:p>
        </p:txBody>
      </p:sp>
      <p:sp>
        <p:nvSpPr>
          <p:cNvPr id="10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648000"/>
            <a:ext cx="9793288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cs-CZ" noProof="0"/>
              <a:t>Podnadpis</a:t>
            </a:r>
          </a:p>
        </p:txBody>
      </p:sp>
      <p:sp>
        <p:nvSpPr>
          <p:cNvPr id="3" name="Nadpis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cs-CZ" noProof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162801336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Grey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pro číslo snímku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7" name="Zástupný symbol pro zápatí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en-US" noProof="0"/>
              <a:t>S15 | 08.06.2023 | Future city tech | VTO | Miroslav Holan</a:t>
            </a:r>
            <a:endParaRPr lang="cs-CZ" noProof="0"/>
          </a:p>
        </p:txBody>
      </p:sp>
      <p:sp>
        <p:nvSpPr>
          <p:cNvPr id="10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648000"/>
            <a:ext cx="9793288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/>
              <a:t>Podnadpis</a:t>
            </a:r>
          </a:p>
        </p:txBody>
      </p:sp>
      <p:sp>
        <p:nvSpPr>
          <p:cNvPr id="3" name="Nadpis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cs-CZ" noProof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27547874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2BC73856-9920-FB4D-1FA1-5AD01A9B1773}"/>
              </a:ext>
            </a:extLst>
          </p:cNvPr>
          <p:cNvSpPr/>
          <p:nvPr userDrawn="1"/>
        </p:nvSpPr>
        <p:spPr>
          <a:xfrm>
            <a:off x="3852000" y="0"/>
            <a:ext cx="6840000" cy="6011863"/>
          </a:xfrm>
          <a:custGeom>
            <a:avLst/>
            <a:gdLst>
              <a:gd name="connsiteX0" fmla="*/ 0 w 6840000"/>
              <a:gd name="connsiteY0" fmla="*/ 0 h 6011863"/>
              <a:gd name="connsiteX1" fmla="*/ 6840000 w 6840000"/>
              <a:gd name="connsiteY1" fmla="*/ 0 h 6011863"/>
              <a:gd name="connsiteX2" fmla="*/ 6840000 w 6840000"/>
              <a:gd name="connsiteY2" fmla="*/ 6011863 h 6011863"/>
              <a:gd name="connsiteX3" fmla="*/ 0 w 6840000"/>
              <a:gd name="connsiteY3" fmla="*/ 6011863 h 6011863"/>
              <a:gd name="connsiteX4" fmla="*/ 0 w 6840000"/>
              <a:gd name="connsiteY4" fmla="*/ 0 h 6011863"/>
              <a:gd name="connsiteX0" fmla="*/ 1602582 w 6840000"/>
              <a:gd name="connsiteY0" fmla="*/ 0 h 6011863"/>
              <a:gd name="connsiteX1" fmla="*/ 6840000 w 6840000"/>
              <a:gd name="connsiteY1" fmla="*/ 0 h 6011863"/>
              <a:gd name="connsiteX2" fmla="*/ 6840000 w 6840000"/>
              <a:gd name="connsiteY2" fmla="*/ 6011863 h 6011863"/>
              <a:gd name="connsiteX3" fmla="*/ 0 w 6840000"/>
              <a:gd name="connsiteY3" fmla="*/ 6011863 h 6011863"/>
              <a:gd name="connsiteX4" fmla="*/ 1602582 w 6840000"/>
              <a:gd name="connsiteY4" fmla="*/ 0 h 6011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40000" h="6011863">
                <a:moveTo>
                  <a:pt x="1602582" y="0"/>
                </a:moveTo>
                <a:lnTo>
                  <a:pt x="6840000" y="0"/>
                </a:lnTo>
                <a:lnTo>
                  <a:pt x="6840000" y="6011863"/>
                </a:lnTo>
                <a:lnTo>
                  <a:pt x="0" y="6011863"/>
                </a:lnTo>
                <a:lnTo>
                  <a:pt x="1602582" y="0"/>
                </a:lnTo>
                <a:close/>
              </a:path>
            </a:pathLst>
          </a:cu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en-US" noProof="0"/>
              <a:t>S15 | 08.06.2023 | Future city tech | VTO | Miroslav Holan</a:t>
            </a:r>
            <a:endParaRPr lang="cs-CZ" noProof="0" dirty="0"/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4" y="648000"/>
            <a:ext cx="4680000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/>
              <a:t>Podnadpis</a:t>
            </a:r>
            <a:endParaRPr lang="cs-CZ" noProof="0" dirty="0"/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>
          <a:xfrm>
            <a:off x="449264" y="269875"/>
            <a:ext cx="4680000" cy="360000"/>
          </a:xfrm>
        </p:spPr>
        <p:txBody>
          <a:bodyPr/>
          <a:lstStyle>
            <a:lvl1pPr>
              <a:defRPr/>
            </a:lvl1pPr>
          </a:lstStyle>
          <a:p>
            <a:r>
              <a:rPr lang="cs-CZ" noProof="0"/>
              <a:t>Nadpis (shrnutí stránky)</a:t>
            </a:r>
            <a:endParaRPr lang="cs-CZ" noProof="0" dirty="0"/>
          </a:p>
        </p:txBody>
      </p:sp>
      <p:sp>
        <p:nvSpPr>
          <p:cNvPr id="10" name="Zástupný symbol pro obsah 2"/>
          <p:cNvSpPr>
            <a:spLocks noGrp="1"/>
          </p:cNvSpPr>
          <p:nvPr>
            <p:ph idx="13" hasCustomPrompt="1"/>
          </p:nvPr>
        </p:nvSpPr>
        <p:spPr>
          <a:xfrm>
            <a:off x="5418138" y="269875"/>
            <a:ext cx="4824412" cy="3528125"/>
          </a:xfrm>
        </p:spPr>
        <p:txBody>
          <a:bodyPr anchor="b" anchorCtr="0">
            <a:normAutofit/>
          </a:bodyPr>
          <a:lstStyle>
            <a:lvl1pPr marL="0" indent="0" algn="ctr">
              <a:lnSpc>
                <a:spcPts val="13200"/>
              </a:lnSpc>
              <a:buNone/>
              <a:defRPr sz="13200" baseline="0">
                <a:solidFill>
                  <a:schemeClr val="accent2"/>
                </a:solidFill>
                <a:latin typeface="SKODA Next Light" panose="020B0304020603020204" pitchFamily="34" charset="0"/>
              </a:defRPr>
            </a:lvl1pPr>
            <a:lvl2pPr marL="180000" indent="0">
              <a:buNone/>
              <a:defRPr>
                <a:latin typeface="SKODA Next" panose="020B0504020603020204" pitchFamily="34" charset="0"/>
              </a:defRPr>
            </a:lvl2pPr>
            <a:lvl3pPr marL="360000" indent="0">
              <a:buNone/>
              <a:defRPr>
                <a:latin typeface="SKODA Next" panose="020B0504020603020204" pitchFamily="34" charset="0"/>
              </a:defRPr>
            </a:lvl3pPr>
            <a:lvl4pPr marL="540000" indent="0">
              <a:buNone/>
              <a:defRPr>
                <a:latin typeface="SKODA Next" panose="020B0504020603020204" pitchFamily="34" charset="0"/>
              </a:defRPr>
            </a:lvl4pPr>
            <a:lvl5pPr marL="720000" indent="0">
              <a:buNone/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1"/>
              <a:t>Číslo</a:t>
            </a:r>
          </a:p>
        </p:txBody>
      </p:sp>
      <p:sp>
        <p:nvSpPr>
          <p:cNvPr id="5" name="Zástupný symbol pro obsah 2">
            <a:extLst>
              <a:ext uri="{FF2B5EF4-FFF2-40B4-BE49-F238E27FC236}">
                <a16:creationId xmlns:a16="http://schemas.microsoft.com/office/drawing/2014/main" id="{3471EC78-B29A-0B43-3BBF-4728093475C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49264" y="1314450"/>
            <a:ext cx="3456000" cy="4032250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  <a:lvl6pPr marL="900000" indent="0">
              <a:buNone/>
              <a:defRPr/>
            </a:lvl6pPr>
            <a:lvl7pPr marL="1080000" indent="0">
              <a:buNone/>
              <a:defRPr/>
            </a:lvl7pPr>
            <a:lvl8pPr marL="1260000" indent="0">
              <a:buNone/>
              <a:defRPr/>
            </a:lvl8pPr>
            <a:lvl9pPr marL="1440000" indent="0">
              <a:buNone/>
              <a:defRPr/>
            </a:lvl9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6E6BFB5C-32B5-D05C-0882-76BFAB25CDA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41200" y="5659200"/>
            <a:ext cx="1002857" cy="108000"/>
          </a:xfrm>
          <a:prstGeom prst="rect">
            <a:avLst/>
          </a:prstGeom>
        </p:spPr>
      </p:pic>
      <p:sp>
        <p:nvSpPr>
          <p:cNvPr id="13" name="Zástupný symbol pro text 8">
            <a:extLst>
              <a:ext uri="{FF2B5EF4-FFF2-40B4-BE49-F238E27FC236}">
                <a16:creationId xmlns:a16="http://schemas.microsoft.com/office/drawing/2014/main" id="{2B865885-2219-05BC-D8B6-4695396A63F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18139" y="3798001"/>
            <a:ext cx="4824412" cy="2880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accent2"/>
                </a:solidFill>
                <a:latin typeface="SKODA Next" panose="020B0504020603020204" pitchFamily="34" charset="0"/>
              </a:defRPr>
            </a:lvl1pPr>
            <a:lvl2pPr marL="180000" indent="0">
              <a:buNone/>
              <a:defRPr>
                <a:solidFill>
                  <a:schemeClr val="accent2"/>
                </a:solidFill>
                <a:latin typeface="SKODA Next" panose="020B0504020603020204" pitchFamily="34" charset="0"/>
              </a:defRPr>
            </a:lvl2pPr>
            <a:lvl3pPr marL="360000" indent="0">
              <a:buNone/>
              <a:defRPr>
                <a:solidFill>
                  <a:schemeClr val="accent2"/>
                </a:solidFill>
                <a:latin typeface="SKODA Next" panose="020B0504020603020204" pitchFamily="34" charset="0"/>
              </a:defRPr>
            </a:lvl3pPr>
            <a:lvl4pPr marL="540000" indent="0">
              <a:buNone/>
              <a:defRPr>
                <a:solidFill>
                  <a:schemeClr val="accent2"/>
                </a:solidFill>
                <a:latin typeface="SKODA Next" panose="020B0504020603020204" pitchFamily="34" charset="0"/>
              </a:defRPr>
            </a:lvl4pPr>
            <a:lvl5pPr marL="720000" indent="0">
              <a:buNone/>
              <a:defRPr>
                <a:solidFill>
                  <a:schemeClr val="accent2"/>
                </a:solidFill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Detail čísla</a:t>
            </a:r>
          </a:p>
        </p:txBody>
      </p:sp>
      <p:sp>
        <p:nvSpPr>
          <p:cNvPr id="14" name="Zástupný symbol pro obrázek 10">
            <a:extLst>
              <a:ext uri="{FF2B5EF4-FFF2-40B4-BE49-F238E27FC236}">
                <a16:creationId xmlns:a16="http://schemas.microsoft.com/office/drawing/2014/main" id="{86DAE072-2452-AB7D-161C-6E9AB85BBE6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398345" y="4302000"/>
            <a:ext cx="864000" cy="432000"/>
          </a:xfrm>
        </p:spPr>
        <p:txBody>
          <a:bodyPr/>
          <a:lstStyle>
            <a:lvl1pPr algn="ctr">
              <a:buFontTx/>
              <a:buNone/>
              <a:defRPr>
                <a:solidFill>
                  <a:schemeClr val="accent2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Obr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412444144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pro číslo snímku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7" name="Zástupný symbol pro zápatí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en-US" noProof="0"/>
              <a:t>S15 | 08.06.2023 | Future city tech | VTO | Miroslav Holan</a:t>
            </a:r>
            <a:endParaRPr lang="cs-CZ" noProof="0"/>
          </a:p>
        </p:txBody>
      </p:sp>
      <p:sp>
        <p:nvSpPr>
          <p:cNvPr id="10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648000"/>
            <a:ext cx="9793288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cs-CZ" noProof="0"/>
              <a:t>Podnadpis</a:t>
            </a:r>
          </a:p>
        </p:txBody>
      </p:sp>
      <p:sp>
        <p:nvSpPr>
          <p:cNvPr id="3" name="Nadpis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cs-CZ" noProof="0"/>
              <a:t>Nadpis (shrnutí stránky)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276EAF78-408F-7294-6550-165223580FF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41200" y="5659200"/>
            <a:ext cx="1002857" cy="10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74484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B6C15D4D-B0E1-E0BD-A36D-4EB0521FEB47}"/>
              </a:ext>
            </a:extLst>
          </p:cNvPr>
          <p:cNvSpPr/>
          <p:nvPr userDrawn="1"/>
        </p:nvSpPr>
        <p:spPr>
          <a:xfrm>
            <a:off x="5418138" y="0"/>
            <a:ext cx="5273675" cy="601186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noProof="0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en-US" noProof="0"/>
              <a:t>S15 | 08.06.2023 | Future city tech | VTO | Miroslav Holan</a:t>
            </a:r>
            <a:endParaRPr lang="cs-CZ" noProof="0"/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6929438" y="1314450"/>
            <a:ext cx="2250375" cy="3060000"/>
          </a:xfrm>
        </p:spPr>
        <p:txBody>
          <a:bodyPr/>
          <a:lstStyle>
            <a:lvl1pPr algn="ctr">
              <a:buFontTx/>
              <a:buNone/>
              <a:defRPr>
                <a:solidFill>
                  <a:schemeClr val="accent2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Obrázek</a:t>
            </a:r>
          </a:p>
        </p:txBody>
      </p:sp>
      <p:sp>
        <p:nvSpPr>
          <p:cNvPr id="15" name="Zástupný symbol pro text 28"/>
          <p:cNvSpPr>
            <a:spLocks noGrp="1"/>
          </p:cNvSpPr>
          <p:nvPr>
            <p:ph type="body" sz="quarter" idx="14" hasCustomPrompt="1"/>
          </p:nvPr>
        </p:nvSpPr>
        <p:spPr>
          <a:xfrm>
            <a:off x="449264" y="648000"/>
            <a:ext cx="4824412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/>
              <a:t>Podnadpis</a:t>
            </a:r>
          </a:p>
        </p:txBody>
      </p:sp>
      <p:sp>
        <p:nvSpPr>
          <p:cNvPr id="4" name="Nadpis 3"/>
          <p:cNvSpPr>
            <a:spLocks noGrp="1"/>
          </p:cNvSpPr>
          <p:nvPr>
            <p:ph type="title" hasCustomPrompt="1"/>
          </p:nvPr>
        </p:nvSpPr>
        <p:spPr>
          <a:xfrm>
            <a:off x="449264" y="269875"/>
            <a:ext cx="4824412" cy="360000"/>
          </a:xfrm>
        </p:spPr>
        <p:txBody>
          <a:bodyPr/>
          <a:lstStyle>
            <a:lvl1pPr>
              <a:defRPr/>
            </a:lvl1pPr>
          </a:lstStyle>
          <a:p>
            <a:r>
              <a:rPr lang="cs-CZ" noProof="0"/>
              <a:t>Nadpis (shrnutí stránky)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0EA372E7-DC21-D60B-AA61-09AE26B7DDC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41200" y="5659200"/>
            <a:ext cx="1002857" cy="108000"/>
          </a:xfrm>
          <a:prstGeom prst="rect">
            <a:avLst/>
          </a:prstGeom>
        </p:spPr>
      </p:pic>
      <p:sp>
        <p:nvSpPr>
          <p:cNvPr id="16" name="Zástupný symbol pro obsah 2">
            <a:extLst>
              <a:ext uri="{FF2B5EF4-FFF2-40B4-BE49-F238E27FC236}">
                <a16:creationId xmlns:a16="http://schemas.microsoft.com/office/drawing/2014/main" id="{340CA0B5-574E-883F-7589-CDD3F13CBEE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49264" y="1314450"/>
            <a:ext cx="4824412" cy="4032250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  <a:lvl6pPr marL="900000" indent="0">
              <a:buNone/>
              <a:defRPr/>
            </a:lvl6pPr>
          </a:lstStyle>
          <a:p>
            <a:pPr lvl="0"/>
            <a:r>
              <a:rPr lang="cs-CZ" noProof="0"/>
              <a:t>První úroveň</a:t>
            </a:r>
          </a:p>
          <a:p>
            <a:pPr lvl="1"/>
            <a:r>
              <a:rPr lang="cs-CZ" noProof="0"/>
              <a:t>Druhá úroveň</a:t>
            </a:r>
          </a:p>
          <a:p>
            <a:pPr lvl="2"/>
            <a:r>
              <a:rPr lang="cs-CZ" noProof="0"/>
              <a:t>Třetí úroveň</a:t>
            </a:r>
          </a:p>
          <a:p>
            <a:pPr lvl="3"/>
            <a:r>
              <a:rPr lang="cs-CZ" noProof="0"/>
              <a:t>Čtvrtá úroveň</a:t>
            </a:r>
          </a:p>
          <a:p>
            <a:pPr lvl="4"/>
            <a:r>
              <a:rPr lang="cs-CZ" noProof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977689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3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sv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slideLayout" Target="../slideLayouts/slideLayout41.xml"/><Relationship Id="rId18" Type="http://schemas.openxmlformats.org/officeDocument/2006/relationships/slideLayout" Target="../slideLayouts/slideLayout46.xml"/><Relationship Id="rId26" Type="http://schemas.openxmlformats.org/officeDocument/2006/relationships/slideLayout" Target="../slideLayouts/slideLayout54.xml"/><Relationship Id="rId3" Type="http://schemas.openxmlformats.org/officeDocument/2006/relationships/slideLayout" Target="../slideLayouts/slideLayout31.xml"/><Relationship Id="rId21" Type="http://schemas.openxmlformats.org/officeDocument/2006/relationships/slideLayout" Target="../slideLayouts/slideLayout49.xml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17" Type="http://schemas.openxmlformats.org/officeDocument/2006/relationships/slideLayout" Target="../slideLayouts/slideLayout45.xml"/><Relationship Id="rId25" Type="http://schemas.openxmlformats.org/officeDocument/2006/relationships/slideLayout" Target="../slideLayouts/slideLayout53.xml"/><Relationship Id="rId2" Type="http://schemas.openxmlformats.org/officeDocument/2006/relationships/slideLayout" Target="../slideLayouts/slideLayout30.xml"/><Relationship Id="rId16" Type="http://schemas.openxmlformats.org/officeDocument/2006/relationships/slideLayout" Target="../slideLayouts/slideLayout44.xml"/><Relationship Id="rId20" Type="http://schemas.openxmlformats.org/officeDocument/2006/relationships/slideLayout" Target="../slideLayouts/slideLayout48.xml"/><Relationship Id="rId29" Type="http://schemas.openxmlformats.org/officeDocument/2006/relationships/image" Target="../media/image1.png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24" Type="http://schemas.openxmlformats.org/officeDocument/2006/relationships/slideLayout" Target="../slideLayouts/slideLayout52.xml"/><Relationship Id="rId32" Type="http://schemas.openxmlformats.org/officeDocument/2006/relationships/image" Target="../media/image3.emf"/><Relationship Id="rId5" Type="http://schemas.openxmlformats.org/officeDocument/2006/relationships/slideLayout" Target="../slideLayouts/slideLayout33.xml"/><Relationship Id="rId15" Type="http://schemas.openxmlformats.org/officeDocument/2006/relationships/slideLayout" Target="../slideLayouts/slideLayout43.xml"/><Relationship Id="rId23" Type="http://schemas.openxmlformats.org/officeDocument/2006/relationships/slideLayout" Target="../slideLayouts/slideLayout51.xml"/><Relationship Id="rId28" Type="http://schemas.openxmlformats.org/officeDocument/2006/relationships/tags" Target="../tags/tag10.xml"/><Relationship Id="rId10" Type="http://schemas.openxmlformats.org/officeDocument/2006/relationships/slideLayout" Target="../slideLayouts/slideLayout38.xml"/><Relationship Id="rId19" Type="http://schemas.openxmlformats.org/officeDocument/2006/relationships/slideLayout" Target="../slideLayouts/slideLayout47.xml"/><Relationship Id="rId31" Type="http://schemas.openxmlformats.org/officeDocument/2006/relationships/oleObject" Target="../embeddings/oleObject9.bin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slideLayout" Target="../slideLayouts/slideLayout42.xml"/><Relationship Id="rId22" Type="http://schemas.openxmlformats.org/officeDocument/2006/relationships/slideLayout" Target="../slideLayouts/slideLayout50.xml"/><Relationship Id="rId27" Type="http://schemas.openxmlformats.org/officeDocument/2006/relationships/theme" Target="../theme/theme2.xml"/><Relationship Id="rId30" Type="http://schemas.openxmlformats.org/officeDocument/2006/relationships/image" Target="../media/image2.sv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.xml"/><Relationship Id="rId13" Type="http://schemas.openxmlformats.org/officeDocument/2006/relationships/slideLayout" Target="../slideLayouts/slideLayout67.xml"/><Relationship Id="rId18" Type="http://schemas.openxmlformats.org/officeDocument/2006/relationships/slideLayout" Target="../slideLayouts/slideLayout72.xml"/><Relationship Id="rId26" Type="http://schemas.openxmlformats.org/officeDocument/2006/relationships/slideLayout" Target="../slideLayouts/slideLayout80.xml"/><Relationship Id="rId3" Type="http://schemas.openxmlformats.org/officeDocument/2006/relationships/slideLayout" Target="../slideLayouts/slideLayout57.xml"/><Relationship Id="rId21" Type="http://schemas.openxmlformats.org/officeDocument/2006/relationships/slideLayout" Target="../slideLayouts/slideLayout75.xml"/><Relationship Id="rId7" Type="http://schemas.openxmlformats.org/officeDocument/2006/relationships/slideLayout" Target="../slideLayouts/slideLayout61.xml"/><Relationship Id="rId12" Type="http://schemas.openxmlformats.org/officeDocument/2006/relationships/slideLayout" Target="../slideLayouts/slideLayout66.xml"/><Relationship Id="rId17" Type="http://schemas.openxmlformats.org/officeDocument/2006/relationships/slideLayout" Target="../slideLayouts/slideLayout71.xml"/><Relationship Id="rId25" Type="http://schemas.openxmlformats.org/officeDocument/2006/relationships/slideLayout" Target="../slideLayouts/slideLayout79.xml"/><Relationship Id="rId2" Type="http://schemas.openxmlformats.org/officeDocument/2006/relationships/slideLayout" Target="../slideLayouts/slideLayout56.xml"/><Relationship Id="rId16" Type="http://schemas.openxmlformats.org/officeDocument/2006/relationships/slideLayout" Target="../slideLayouts/slideLayout70.xml"/><Relationship Id="rId20" Type="http://schemas.openxmlformats.org/officeDocument/2006/relationships/slideLayout" Target="../slideLayouts/slideLayout74.xml"/><Relationship Id="rId29" Type="http://schemas.openxmlformats.org/officeDocument/2006/relationships/image" Target="../media/image1.png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slideLayout" Target="../slideLayouts/slideLayout65.xml"/><Relationship Id="rId24" Type="http://schemas.openxmlformats.org/officeDocument/2006/relationships/slideLayout" Target="../slideLayouts/slideLayout78.xml"/><Relationship Id="rId32" Type="http://schemas.openxmlformats.org/officeDocument/2006/relationships/image" Target="../media/image3.emf"/><Relationship Id="rId5" Type="http://schemas.openxmlformats.org/officeDocument/2006/relationships/slideLayout" Target="../slideLayouts/slideLayout59.xml"/><Relationship Id="rId15" Type="http://schemas.openxmlformats.org/officeDocument/2006/relationships/slideLayout" Target="../slideLayouts/slideLayout69.xml"/><Relationship Id="rId23" Type="http://schemas.openxmlformats.org/officeDocument/2006/relationships/slideLayout" Target="../slideLayouts/slideLayout77.xml"/><Relationship Id="rId28" Type="http://schemas.openxmlformats.org/officeDocument/2006/relationships/tags" Target="../tags/tag18.xml"/><Relationship Id="rId10" Type="http://schemas.openxmlformats.org/officeDocument/2006/relationships/slideLayout" Target="../slideLayouts/slideLayout64.xml"/><Relationship Id="rId19" Type="http://schemas.openxmlformats.org/officeDocument/2006/relationships/slideLayout" Target="../slideLayouts/slideLayout73.xml"/><Relationship Id="rId31" Type="http://schemas.openxmlformats.org/officeDocument/2006/relationships/oleObject" Target="../embeddings/oleObject17.bin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Relationship Id="rId14" Type="http://schemas.openxmlformats.org/officeDocument/2006/relationships/slideLayout" Target="../slideLayouts/slideLayout68.xml"/><Relationship Id="rId22" Type="http://schemas.openxmlformats.org/officeDocument/2006/relationships/slideLayout" Target="../slideLayouts/slideLayout76.xml"/><Relationship Id="rId27" Type="http://schemas.openxmlformats.org/officeDocument/2006/relationships/theme" Target="../theme/theme3.xml"/><Relationship Id="rId30" Type="http://schemas.openxmlformats.org/officeDocument/2006/relationships/image" Target="../media/image2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id="{73B76C94-D88D-90F3-7B57-67606C5FFEF9}"/>
              </a:ext>
            </a:extLst>
          </p:cNvPr>
          <p:cNvPicPr>
            <a:picLocks noChangeAspect="1"/>
          </p:cNvPicPr>
          <p:nvPr userDrawn="1"/>
        </p:nvPicPr>
        <p:blipFill>
          <a:blip r:embed="rId31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9239693" y="5659592"/>
            <a:ext cx="1002857" cy="108000"/>
          </a:xfrm>
          <a:prstGeom prst="rect">
            <a:avLst/>
          </a:prstGeom>
        </p:spPr>
      </p:pic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231120598"/>
              </p:ext>
            </p:extLst>
          </p:nvPr>
        </p:nvGraphicFramePr>
        <p:xfrm>
          <a:off x="1590" y="1264"/>
          <a:ext cx="1587" cy="12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3" imgW="399" imgH="398" progId="TCLayout.ActiveDocument.1">
                  <p:embed/>
                </p:oleObj>
              </mc:Choice>
              <mc:Fallback>
                <p:oleObj name="think-cell Slide" r:id="rId33" imgW="399" imgH="39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90" y="1264"/>
                        <a:ext cx="1587" cy="12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449263" y="1314451"/>
            <a:ext cx="9793287" cy="403225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846000" y="5598000"/>
            <a:ext cx="7740788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noProof="0"/>
              <a:t>S15 | 08.06.2023 | Future city tech | VTO | Miroslav Holan</a:t>
            </a:r>
            <a:endParaRPr lang="cs-CZ" noProof="0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4"/>
          </p:nvPr>
        </p:nvSpPr>
        <p:spPr>
          <a:xfrm>
            <a:off x="449263" y="5598000"/>
            <a:ext cx="26996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 b="1">
                <a:solidFill>
                  <a:schemeClr val="tx1"/>
                </a:solidFill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449263" y="269875"/>
            <a:ext cx="9793287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cs-CZ" noProof="0" dirty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39986083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36" r:id="rId2"/>
    <p:sldLayoutId id="2147483737" r:id="rId3"/>
    <p:sldLayoutId id="2147483740" r:id="rId4"/>
    <p:sldLayoutId id="2147483776" r:id="rId5"/>
    <p:sldLayoutId id="2147483738" r:id="rId6"/>
    <p:sldLayoutId id="2147483739" r:id="rId7"/>
    <p:sldLayoutId id="2147483777" r:id="rId8"/>
    <p:sldLayoutId id="2147483778" r:id="rId9"/>
    <p:sldLayoutId id="2147483780" r:id="rId10"/>
    <p:sldLayoutId id="2147483779" r:id="rId11"/>
    <p:sldLayoutId id="2147483782" r:id="rId12"/>
    <p:sldLayoutId id="2147483735" r:id="rId13"/>
    <p:sldLayoutId id="2147483726" r:id="rId14"/>
    <p:sldLayoutId id="2147483727" r:id="rId15"/>
    <p:sldLayoutId id="2147483775" r:id="rId16"/>
    <p:sldLayoutId id="2147483728" r:id="rId17"/>
    <p:sldLayoutId id="2147483730" r:id="rId18"/>
    <p:sldLayoutId id="2147483729" r:id="rId19"/>
    <p:sldLayoutId id="2147483774" r:id="rId20"/>
    <p:sldLayoutId id="2147483731" r:id="rId21"/>
    <p:sldLayoutId id="2147483732" r:id="rId22"/>
    <p:sldLayoutId id="2147483752" r:id="rId23"/>
    <p:sldLayoutId id="2147483753" r:id="rId24"/>
    <p:sldLayoutId id="2147483754" r:id="rId25"/>
    <p:sldLayoutId id="2147483773" r:id="rId26"/>
    <p:sldLayoutId id="2147483822" r:id="rId27"/>
    <p:sldLayoutId id="2147483851" r:id="rId28"/>
  </p:sldLayoutIdLst>
  <p:hf hdr="0" dt="0"/>
  <p:txStyles>
    <p:titleStyle>
      <a:lvl1pPr algn="l" defTabSz="1043056" rtl="0" eaLnBrk="1" latinLnBrk="0" hangingPunct="1">
        <a:lnSpc>
          <a:spcPts val="2600"/>
        </a:lnSpc>
        <a:spcBef>
          <a:spcPct val="0"/>
        </a:spcBef>
        <a:buNone/>
        <a:defRPr sz="2000" b="1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1pPr>
    </p:titleStyle>
    <p:bodyStyle>
      <a:lvl1pPr marL="180000" indent="-180000" algn="l" defTabSz="1043056" rtl="0" eaLnBrk="1" latinLnBrk="0" hangingPunct="1">
        <a:lnSpc>
          <a:spcPct val="115000"/>
        </a:lnSpc>
        <a:spcBef>
          <a:spcPts val="0"/>
        </a:spcBef>
        <a:buClrTx/>
        <a:buSzPct val="100000"/>
        <a:buFont typeface="SKODA Next" panose="020B0504020603020204" pitchFamily="34" charset="0"/>
        <a:buChar char="−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1pPr>
      <a:lvl2pPr marL="360000" indent="-180000" algn="l" defTabSz="1043056" rtl="0" eaLnBrk="1" latinLnBrk="0" hangingPunct="1">
        <a:lnSpc>
          <a:spcPct val="115000"/>
        </a:lnSpc>
        <a:spcBef>
          <a:spcPts val="0"/>
        </a:spcBef>
        <a:buClrTx/>
        <a:buSzPct val="100000"/>
        <a:buFont typeface="SKODA Next" panose="020B0504020603020204" pitchFamily="34" charset="0"/>
        <a:buChar char="−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2pPr>
      <a:lvl3pPr marL="540000" indent="-180000" algn="l" defTabSz="1043056" rtl="0" eaLnBrk="1" latinLnBrk="0" hangingPunct="1">
        <a:lnSpc>
          <a:spcPct val="115000"/>
        </a:lnSpc>
        <a:spcBef>
          <a:spcPts val="0"/>
        </a:spcBef>
        <a:buClrTx/>
        <a:buSzPct val="100000"/>
        <a:buFont typeface="SKODA Next" panose="020B0504020603020204" pitchFamily="34" charset="0"/>
        <a:buChar char="−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3pPr>
      <a:lvl4pPr marL="720000" indent="-180000" algn="l" defTabSz="1043056" rtl="0" eaLnBrk="1" latinLnBrk="0" hangingPunct="1">
        <a:lnSpc>
          <a:spcPct val="115000"/>
        </a:lnSpc>
        <a:spcBef>
          <a:spcPts val="0"/>
        </a:spcBef>
        <a:buClrTx/>
        <a:buSzPct val="100000"/>
        <a:buFont typeface="SKODA Next" panose="020B0504020603020204" pitchFamily="34" charset="0"/>
        <a:buChar char="−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4pPr>
      <a:lvl5pPr marL="900000" indent="-180000" algn="l" defTabSz="1043056" rtl="0" eaLnBrk="1" latinLnBrk="0" hangingPunct="1">
        <a:lnSpc>
          <a:spcPct val="115000"/>
        </a:lnSpc>
        <a:spcBef>
          <a:spcPts val="0"/>
        </a:spcBef>
        <a:buClrTx/>
        <a:buSzPct val="100000"/>
        <a:buFont typeface="SKODA Next" panose="020B0504020603020204" pitchFamily="34" charset="0"/>
        <a:buChar char="−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5pPr>
      <a:lvl6pPr marL="900000" indent="0" algn="l" defTabSz="1043056" rtl="0" eaLnBrk="1" latinLnBrk="0" hangingPunct="1">
        <a:lnSpc>
          <a:spcPct val="114000"/>
        </a:lnSpc>
        <a:spcBef>
          <a:spcPts val="0"/>
        </a:spcBef>
        <a:buClrTx/>
        <a:buFont typeface="SKODA Next" panose="020B0504020603020204" pitchFamily="34" charset="0"/>
        <a:buNone/>
        <a:defRPr sz="1600" kern="1200">
          <a:solidFill>
            <a:schemeClr val="tx1"/>
          </a:solidFill>
          <a:latin typeface="SKODA Next" panose="020B0504020603020204" pitchFamily="34" charset="0"/>
          <a:ea typeface="+mn-ea"/>
          <a:cs typeface="+mn-cs"/>
        </a:defRPr>
      </a:lvl6pPr>
      <a:lvl7pPr marL="1260000" indent="-180000" algn="l" defTabSz="1043056" rtl="0" eaLnBrk="1" latinLnBrk="0" hangingPunct="1">
        <a:lnSpc>
          <a:spcPct val="114000"/>
        </a:lnSpc>
        <a:spcBef>
          <a:spcPts val="0"/>
        </a:spcBef>
        <a:buFont typeface="SKODA Next" panose="020B0504020603020204" pitchFamily="34" charset="0"/>
        <a:buChar char="−"/>
        <a:defRPr sz="1600" kern="1200">
          <a:solidFill>
            <a:schemeClr val="tx1"/>
          </a:solidFill>
          <a:latin typeface="SKODA Next" panose="020B0504020603020204" pitchFamily="34" charset="0"/>
          <a:ea typeface="+mn-ea"/>
          <a:cs typeface="+mn-cs"/>
        </a:defRPr>
      </a:lvl7pPr>
      <a:lvl8pPr marL="1440000" indent="-180000" algn="l" defTabSz="1043056" rtl="0" eaLnBrk="1" latinLnBrk="0" hangingPunct="1">
        <a:lnSpc>
          <a:spcPct val="114000"/>
        </a:lnSpc>
        <a:spcBef>
          <a:spcPts val="0"/>
        </a:spcBef>
        <a:buFont typeface="SKODA Next" panose="020B0504020603020204" pitchFamily="34" charset="0"/>
        <a:buChar char="−"/>
        <a:defRPr sz="1600" kern="1200">
          <a:solidFill>
            <a:schemeClr val="tx1"/>
          </a:solidFill>
          <a:latin typeface="SKODA Next" panose="020B0504020603020204" pitchFamily="34" charset="0"/>
          <a:ea typeface="+mn-ea"/>
          <a:cs typeface="+mn-cs"/>
        </a:defRPr>
      </a:lvl8pPr>
      <a:lvl9pPr marL="1620000" indent="-180000" algn="l" defTabSz="1043056" rtl="0" eaLnBrk="1" latinLnBrk="0" hangingPunct="1">
        <a:lnSpc>
          <a:spcPct val="114000"/>
        </a:lnSpc>
        <a:spcBef>
          <a:spcPts val="0"/>
        </a:spcBef>
        <a:buFont typeface="SKODA Next" panose="020B0504020603020204" pitchFamily="34" charset="0"/>
        <a:buChar char="−"/>
        <a:defRPr sz="1600" kern="1200">
          <a:solidFill>
            <a:schemeClr val="tx1"/>
          </a:solidFill>
          <a:latin typeface="SKODA Next" panose="020B0504020603020204" pitchFamily="34" charset="0"/>
          <a:ea typeface="+mn-ea"/>
          <a:cs typeface="+mn-cs"/>
        </a:defRPr>
      </a:lvl9pPr>
    </p:bodyStyle>
    <p:otherStyle>
      <a:defPPr>
        <a:defRPr lang="cs-CZ"/>
      </a:defPPr>
      <a:lvl1pPr marL="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52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305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58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6112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639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916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69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222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0" userDrawn="1">
          <p15:clr>
            <a:srgbClr val="F26B43"/>
          </p15:clr>
        </p15:guide>
        <p15:guide id="2" pos="3322" userDrawn="1">
          <p15:clr>
            <a:srgbClr val="F26B43"/>
          </p15:clr>
        </p15:guide>
        <p15:guide id="3" pos="2370" userDrawn="1">
          <p15:clr>
            <a:srgbClr val="F26B43"/>
          </p15:clr>
        </p15:guide>
        <p15:guide id="4" pos="2279" userDrawn="1">
          <p15:clr>
            <a:srgbClr val="F26B43"/>
          </p15:clr>
        </p15:guide>
        <p15:guide id="5" pos="1326" userDrawn="1">
          <p15:clr>
            <a:srgbClr val="F26B43"/>
          </p15:clr>
        </p15:guide>
        <p15:guide id="6" pos="1236" userDrawn="1">
          <p15:clr>
            <a:srgbClr val="F26B43"/>
          </p15:clr>
        </p15:guide>
        <p15:guide id="7" pos="283" userDrawn="1">
          <p15:clr>
            <a:srgbClr val="F26B43"/>
          </p15:clr>
        </p15:guide>
        <p15:guide id="8" pos="3413" userDrawn="1">
          <p15:clr>
            <a:srgbClr val="F26B43"/>
          </p15:clr>
        </p15:guide>
        <p15:guide id="9" pos="4365" userDrawn="1">
          <p15:clr>
            <a:srgbClr val="F26B43"/>
          </p15:clr>
        </p15:guide>
        <p15:guide id="10" pos="4456" userDrawn="1">
          <p15:clr>
            <a:srgbClr val="F26B43"/>
          </p15:clr>
        </p15:guide>
        <p15:guide id="11" pos="5409" userDrawn="1">
          <p15:clr>
            <a:srgbClr val="F26B43"/>
          </p15:clr>
        </p15:guide>
        <p15:guide id="12" pos="5499" userDrawn="1">
          <p15:clr>
            <a:srgbClr val="F26B43"/>
          </p15:clr>
        </p15:guide>
        <p15:guide id="14" orient="horz" pos="828" userDrawn="1">
          <p15:clr>
            <a:srgbClr val="F26B43"/>
          </p15:clr>
        </p15:guide>
        <p15:guide id="15" orient="horz" pos="3368" userDrawn="1">
          <p15:clr>
            <a:srgbClr val="F26B43"/>
          </p15:clr>
        </p15:guide>
        <p15:guide id="16" orient="horz" pos="2052" userDrawn="1">
          <p15:clr>
            <a:srgbClr val="F26B43"/>
          </p15:clr>
        </p15:guide>
        <p15:guide id="17" orient="horz" pos="2143" userDrawn="1">
          <p15:clr>
            <a:srgbClr val="F26B43"/>
          </p15:clr>
        </p15:guide>
        <p15:guide id="18" pos="6452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9425C78C-10A7-3C67-0F4D-6452760EE785}"/>
              </a:ext>
            </a:extLst>
          </p:cNvPr>
          <p:cNvPicPr>
            <a:picLocks noChangeAspect="1"/>
          </p:cNvPicPr>
          <p:nvPr userDrawn="1"/>
        </p:nvPicPr>
        <p:blipFill>
          <a:blip r:embed="rId29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9239693" y="5659592"/>
            <a:ext cx="1002857" cy="108000"/>
          </a:xfrm>
          <a:prstGeom prst="rect">
            <a:avLst/>
          </a:prstGeom>
        </p:spPr>
      </p:pic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3576460634"/>
              </p:ext>
            </p:extLst>
          </p:nvPr>
        </p:nvGraphicFramePr>
        <p:xfrm>
          <a:off x="1590" y="1264"/>
          <a:ext cx="1587" cy="12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399" imgH="398" progId="TCLayout.ActiveDocument.1">
                  <p:embed/>
                </p:oleObj>
              </mc:Choice>
              <mc:Fallback>
                <p:oleObj name="think-cell Slide" r:id="rId31" imgW="399" imgH="398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90" y="1264"/>
                        <a:ext cx="1587" cy="12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449263" y="1314451"/>
            <a:ext cx="9793287" cy="403225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846000" y="5598000"/>
            <a:ext cx="7740788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noProof="0"/>
              <a:t>S15 | 08.06.2023 | Future city tech | VTO | Miroslav Holan</a:t>
            </a:r>
            <a:endParaRPr lang="cs-CZ" noProof="0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4"/>
          </p:nvPr>
        </p:nvSpPr>
        <p:spPr>
          <a:xfrm>
            <a:off x="449263" y="5598000"/>
            <a:ext cx="26996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 b="1">
                <a:solidFill>
                  <a:schemeClr val="tx1"/>
                </a:solidFill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449263" y="269875"/>
            <a:ext cx="9793287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cs-CZ" noProof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226053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6" r:id="rId1"/>
    <p:sldLayoutId id="2147483802" r:id="rId2"/>
    <p:sldLayoutId id="2147483803" r:id="rId3"/>
    <p:sldLayoutId id="2147483804" r:id="rId4"/>
    <p:sldLayoutId id="2147483805" r:id="rId5"/>
    <p:sldLayoutId id="2147483806" r:id="rId6"/>
    <p:sldLayoutId id="2147483807" r:id="rId7"/>
    <p:sldLayoutId id="2147483808" r:id="rId8"/>
    <p:sldLayoutId id="2147483809" r:id="rId9"/>
    <p:sldLayoutId id="2147483810" r:id="rId10"/>
    <p:sldLayoutId id="2147483811" r:id="rId11"/>
    <p:sldLayoutId id="2147483812" r:id="rId12"/>
    <p:sldLayoutId id="2147483813" r:id="rId13"/>
    <p:sldLayoutId id="2147483814" r:id="rId14"/>
    <p:sldLayoutId id="2147483815" r:id="rId15"/>
    <p:sldLayoutId id="2147483816" r:id="rId16"/>
    <p:sldLayoutId id="2147483817" r:id="rId17"/>
    <p:sldLayoutId id="2147483818" r:id="rId18"/>
    <p:sldLayoutId id="2147483819" r:id="rId19"/>
    <p:sldLayoutId id="2147483820" r:id="rId20"/>
    <p:sldLayoutId id="2147483821" r:id="rId21"/>
    <p:sldLayoutId id="2147483769" r:id="rId22"/>
    <p:sldLayoutId id="2147483770" r:id="rId23"/>
    <p:sldLayoutId id="2147483771" r:id="rId24"/>
    <p:sldLayoutId id="2147483772" r:id="rId25"/>
    <p:sldLayoutId id="2147483801" r:id="rId26"/>
  </p:sldLayoutIdLst>
  <p:hf hdr="0" dt="0"/>
  <p:txStyles>
    <p:titleStyle>
      <a:lvl1pPr algn="l" defTabSz="1043056" rtl="0" eaLnBrk="1" latinLnBrk="0" hangingPunct="1">
        <a:lnSpc>
          <a:spcPts val="2600"/>
        </a:lnSpc>
        <a:spcBef>
          <a:spcPct val="0"/>
        </a:spcBef>
        <a:buNone/>
        <a:defRPr sz="2000" b="1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1pPr>
    </p:titleStyle>
    <p:bodyStyle>
      <a:lvl1pPr marL="180000" indent="-180000" algn="l" defTabSz="1043056" rtl="0" eaLnBrk="1" latinLnBrk="0" hangingPunct="1">
        <a:lnSpc>
          <a:spcPct val="115000"/>
        </a:lnSpc>
        <a:spcBef>
          <a:spcPts val="0"/>
        </a:spcBef>
        <a:buClrTx/>
        <a:buSzPct val="100000"/>
        <a:buFont typeface="SKODA Next" panose="020B0504020603020204" pitchFamily="34" charset="0"/>
        <a:buChar char="−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1pPr>
      <a:lvl2pPr marL="360000" indent="-180000" algn="l" defTabSz="1043056" rtl="0" eaLnBrk="1" latinLnBrk="0" hangingPunct="1">
        <a:lnSpc>
          <a:spcPct val="115000"/>
        </a:lnSpc>
        <a:spcBef>
          <a:spcPts val="0"/>
        </a:spcBef>
        <a:buClrTx/>
        <a:buSzPct val="100000"/>
        <a:buFont typeface="SKODA Next" panose="020B0504020603020204" pitchFamily="34" charset="0"/>
        <a:buChar char="−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2pPr>
      <a:lvl3pPr marL="540000" indent="-180000" algn="l" defTabSz="1043056" rtl="0" eaLnBrk="1" latinLnBrk="0" hangingPunct="1">
        <a:lnSpc>
          <a:spcPct val="115000"/>
        </a:lnSpc>
        <a:spcBef>
          <a:spcPts val="0"/>
        </a:spcBef>
        <a:buClrTx/>
        <a:buSzPct val="100000"/>
        <a:buFont typeface="SKODA Next" panose="020B0504020603020204" pitchFamily="34" charset="0"/>
        <a:buChar char="−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3pPr>
      <a:lvl4pPr marL="720000" indent="-180000" algn="l" defTabSz="1043056" rtl="0" eaLnBrk="1" latinLnBrk="0" hangingPunct="1">
        <a:lnSpc>
          <a:spcPct val="115000"/>
        </a:lnSpc>
        <a:spcBef>
          <a:spcPts val="0"/>
        </a:spcBef>
        <a:buClrTx/>
        <a:buSzPct val="100000"/>
        <a:buFont typeface="SKODA Next" panose="020B0504020603020204" pitchFamily="34" charset="0"/>
        <a:buChar char="−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4pPr>
      <a:lvl5pPr marL="900000" indent="-180000" algn="l" defTabSz="1043056" rtl="0" eaLnBrk="1" latinLnBrk="0" hangingPunct="1">
        <a:lnSpc>
          <a:spcPct val="115000"/>
        </a:lnSpc>
        <a:spcBef>
          <a:spcPts val="0"/>
        </a:spcBef>
        <a:buClrTx/>
        <a:buSzPct val="100000"/>
        <a:buFont typeface="SKODA Next" panose="020B0504020603020204" pitchFamily="34" charset="0"/>
        <a:buChar char="−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5pPr>
      <a:lvl6pPr marL="1080000" indent="-180000" algn="l" defTabSz="1043056" rtl="0" eaLnBrk="1" latinLnBrk="0" hangingPunct="1">
        <a:lnSpc>
          <a:spcPct val="114000"/>
        </a:lnSpc>
        <a:spcBef>
          <a:spcPts val="0"/>
        </a:spcBef>
        <a:buFont typeface="SKODA Next" panose="020B0504020603020204" pitchFamily="34" charset="0"/>
        <a:buChar char="−"/>
        <a:defRPr sz="1600" kern="1200">
          <a:solidFill>
            <a:schemeClr val="tx1"/>
          </a:solidFill>
          <a:latin typeface="SKODA Next" panose="020B0504020603020204" pitchFamily="34" charset="0"/>
          <a:ea typeface="+mn-ea"/>
          <a:cs typeface="+mn-cs"/>
        </a:defRPr>
      </a:lvl6pPr>
      <a:lvl7pPr marL="1260000" indent="-180000" algn="l" defTabSz="1043056" rtl="0" eaLnBrk="1" latinLnBrk="0" hangingPunct="1">
        <a:lnSpc>
          <a:spcPct val="114000"/>
        </a:lnSpc>
        <a:spcBef>
          <a:spcPts val="0"/>
        </a:spcBef>
        <a:buFont typeface="SKODA Next" panose="020B0504020603020204" pitchFamily="34" charset="0"/>
        <a:buChar char="−"/>
        <a:defRPr sz="1600" kern="1200">
          <a:solidFill>
            <a:schemeClr val="tx1"/>
          </a:solidFill>
          <a:latin typeface="SKODA Next" panose="020B0504020603020204" pitchFamily="34" charset="0"/>
          <a:ea typeface="+mn-ea"/>
          <a:cs typeface="+mn-cs"/>
        </a:defRPr>
      </a:lvl7pPr>
      <a:lvl8pPr marL="1440000" indent="-180000" algn="l" defTabSz="1043056" rtl="0" eaLnBrk="1" latinLnBrk="0" hangingPunct="1">
        <a:lnSpc>
          <a:spcPct val="114000"/>
        </a:lnSpc>
        <a:spcBef>
          <a:spcPts val="0"/>
        </a:spcBef>
        <a:buFont typeface="SKODA Next" panose="020B0504020603020204" pitchFamily="34" charset="0"/>
        <a:buChar char="−"/>
        <a:defRPr sz="1600" kern="1200">
          <a:solidFill>
            <a:schemeClr val="tx1"/>
          </a:solidFill>
          <a:latin typeface="SKODA Next" panose="020B0504020603020204" pitchFamily="34" charset="0"/>
          <a:ea typeface="+mn-ea"/>
          <a:cs typeface="+mn-cs"/>
        </a:defRPr>
      </a:lvl8pPr>
      <a:lvl9pPr marL="1620000" indent="-180000" algn="l" defTabSz="1043056" rtl="0" eaLnBrk="1" latinLnBrk="0" hangingPunct="1">
        <a:lnSpc>
          <a:spcPct val="114000"/>
        </a:lnSpc>
        <a:spcBef>
          <a:spcPts val="0"/>
        </a:spcBef>
        <a:buFont typeface="SKODA Next" panose="020B0504020603020204" pitchFamily="34" charset="0"/>
        <a:buChar char="−"/>
        <a:defRPr sz="1600" kern="1200">
          <a:solidFill>
            <a:schemeClr val="tx1"/>
          </a:solidFill>
          <a:latin typeface="SKODA Next" panose="020B0504020603020204" pitchFamily="34" charset="0"/>
          <a:ea typeface="+mn-ea"/>
          <a:cs typeface="+mn-cs"/>
        </a:defRPr>
      </a:lvl9pPr>
    </p:bodyStyle>
    <p:otherStyle>
      <a:defPPr>
        <a:defRPr lang="cs-CZ"/>
      </a:defPPr>
      <a:lvl1pPr marL="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52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305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58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6112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639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916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69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222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0" userDrawn="1">
          <p15:clr>
            <a:srgbClr val="F26B43"/>
          </p15:clr>
        </p15:guide>
        <p15:guide id="2" pos="3322" userDrawn="1">
          <p15:clr>
            <a:srgbClr val="F26B43"/>
          </p15:clr>
        </p15:guide>
        <p15:guide id="3" pos="2370" userDrawn="1">
          <p15:clr>
            <a:srgbClr val="F26B43"/>
          </p15:clr>
        </p15:guide>
        <p15:guide id="4" pos="2279" userDrawn="1">
          <p15:clr>
            <a:srgbClr val="F26B43"/>
          </p15:clr>
        </p15:guide>
        <p15:guide id="5" pos="1326" userDrawn="1">
          <p15:clr>
            <a:srgbClr val="F26B43"/>
          </p15:clr>
        </p15:guide>
        <p15:guide id="6" pos="1236" userDrawn="1">
          <p15:clr>
            <a:srgbClr val="F26B43"/>
          </p15:clr>
        </p15:guide>
        <p15:guide id="7" pos="283" userDrawn="1">
          <p15:clr>
            <a:srgbClr val="F26B43"/>
          </p15:clr>
        </p15:guide>
        <p15:guide id="8" pos="3413" userDrawn="1">
          <p15:clr>
            <a:srgbClr val="F26B43"/>
          </p15:clr>
        </p15:guide>
        <p15:guide id="9" pos="4365" userDrawn="1">
          <p15:clr>
            <a:srgbClr val="F26B43"/>
          </p15:clr>
        </p15:guide>
        <p15:guide id="10" pos="4456" userDrawn="1">
          <p15:clr>
            <a:srgbClr val="F26B43"/>
          </p15:clr>
        </p15:guide>
        <p15:guide id="11" pos="5409" userDrawn="1">
          <p15:clr>
            <a:srgbClr val="F26B43"/>
          </p15:clr>
        </p15:guide>
        <p15:guide id="12" pos="5499" userDrawn="1">
          <p15:clr>
            <a:srgbClr val="F26B43"/>
          </p15:clr>
        </p15:guide>
        <p15:guide id="14" orient="horz" pos="828" userDrawn="1">
          <p15:clr>
            <a:srgbClr val="F26B43"/>
          </p15:clr>
        </p15:guide>
        <p15:guide id="15" orient="horz" pos="3368" userDrawn="1">
          <p15:clr>
            <a:srgbClr val="F26B43"/>
          </p15:clr>
        </p15:guide>
        <p15:guide id="16" orient="horz" pos="2052" userDrawn="1">
          <p15:clr>
            <a:srgbClr val="F26B43"/>
          </p15:clr>
        </p15:guide>
        <p15:guide id="17" orient="horz" pos="2143" userDrawn="1">
          <p15:clr>
            <a:srgbClr val="F26B43"/>
          </p15:clr>
        </p15:guide>
        <p15:guide id="18" pos="6452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id="{73B76C94-D88D-90F3-7B57-67606C5FFEF9}"/>
              </a:ext>
            </a:extLst>
          </p:cNvPr>
          <p:cNvPicPr>
            <a:picLocks noChangeAspect="1"/>
          </p:cNvPicPr>
          <p:nvPr userDrawn="1"/>
        </p:nvPicPr>
        <p:blipFill>
          <a:blip r:embed="rId29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9239693" y="5659592"/>
            <a:ext cx="1002857" cy="108000"/>
          </a:xfrm>
          <a:prstGeom prst="rect">
            <a:avLst/>
          </a:prstGeom>
        </p:spPr>
      </p:pic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231120598"/>
              </p:ext>
            </p:extLst>
          </p:nvPr>
        </p:nvGraphicFramePr>
        <p:xfrm>
          <a:off x="1590" y="1264"/>
          <a:ext cx="1587" cy="12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399" imgH="398" progId="TCLayout.ActiveDocument.1">
                  <p:embed/>
                </p:oleObj>
              </mc:Choice>
              <mc:Fallback>
                <p:oleObj name="think-cell Slide" r:id="rId31" imgW="399" imgH="398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90" y="1264"/>
                        <a:ext cx="1587" cy="12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449263" y="1314451"/>
            <a:ext cx="9793287" cy="403225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846000" y="5598000"/>
            <a:ext cx="7740788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noProof="0"/>
              <a:t>S15 | 08.06.2023 | Future city tech | VTO | Miroslav Holan</a:t>
            </a:r>
            <a:endParaRPr lang="cs-CZ" noProof="0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4"/>
          </p:nvPr>
        </p:nvSpPr>
        <p:spPr>
          <a:xfrm>
            <a:off x="449263" y="5598000"/>
            <a:ext cx="26996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 b="1">
                <a:solidFill>
                  <a:schemeClr val="tx1"/>
                </a:solidFill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449263" y="269875"/>
            <a:ext cx="9793287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cs-CZ" noProof="0" dirty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13938730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4" r:id="rId1"/>
    <p:sldLayoutId id="2147483825" r:id="rId2"/>
    <p:sldLayoutId id="2147483826" r:id="rId3"/>
    <p:sldLayoutId id="2147483827" r:id="rId4"/>
    <p:sldLayoutId id="2147483828" r:id="rId5"/>
    <p:sldLayoutId id="2147483829" r:id="rId6"/>
    <p:sldLayoutId id="2147483830" r:id="rId7"/>
    <p:sldLayoutId id="2147483831" r:id="rId8"/>
    <p:sldLayoutId id="2147483832" r:id="rId9"/>
    <p:sldLayoutId id="2147483833" r:id="rId10"/>
    <p:sldLayoutId id="2147483834" r:id="rId11"/>
    <p:sldLayoutId id="2147483835" r:id="rId12"/>
    <p:sldLayoutId id="2147483836" r:id="rId13"/>
    <p:sldLayoutId id="2147483837" r:id="rId14"/>
    <p:sldLayoutId id="2147483838" r:id="rId15"/>
    <p:sldLayoutId id="2147483839" r:id="rId16"/>
    <p:sldLayoutId id="2147483840" r:id="rId17"/>
    <p:sldLayoutId id="2147483841" r:id="rId18"/>
    <p:sldLayoutId id="2147483842" r:id="rId19"/>
    <p:sldLayoutId id="2147483843" r:id="rId20"/>
    <p:sldLayoutId id="2147483844" r:id="rId21"/>
    <p:sldLayoutId id="2147483845" r:id="rId22"/>
    <p:sldLayoutId id="2147483846" r:id="rId23"/>
    <p:sldLayoutId id="2147483847" r:id="rId24"/>
    <p:sldLayoutId id="2147483848" r:id="rId25"/>
    <p:sldLayoutId id="2147483849" r:id="rId26"/>
  </p:sldLayoutIdLst>
  <p:hf hdr="0" dt="0"/>
  <p:txStyles>
    <p:titleStyle>
      <a:lvl1pPr algn="l" defTabSz="1043056" rtl="0" eaLnBrk="1" latinLnBrk="0" hangingPunct="1">
        <a:lnSpc>
          <a:spcPts val="2600"/>
        </a:lnSpc>
        <a:spcBef>
          <a:spcPct val="0"/>
        </a:spcBef>
        <a:buNone/>
        <a:defRPr sz="2000" b="1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1pPr>
    </p:titleStyle>
    <p:bodyStyle>
      <a:lvl1pPr marL="180000" indent="-180000" algn="l" defTabSz="1043056" rtl="0" eaLnBrk="1" latinLnBrk="0" hangingPunct="1">
        <a:lnSpc>
          <a:spcPct val="115000"/>
        </a:lnSpc>
        <a:spcBef>
          <a:spcPts val="0"/>
        </a:spcBef>
        <a:buClrTx/>
        <a:buSzPct val="100000"/>
        <a:buFont typeface="SKODA Next" panose="020B0504020603020204" pitchFamily="34" charset="0"/>
        <a:buChar char="−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1pPr>
      <a:lvl2pPr marL="360000" indent="-180000" algn="l" defTabSz="1043056" rtl="0" eaLnBrk="1" latinLnBrk="0" hangingPunct="1">
        <a:lnSpc>
          <a:spcPct val="115000"/>
        </a:lnSpc>
        <a:spcBef>
          <a:spcPts val="0"/>
        </a:spcBef>
        <a:buClrTx/>
        <a:buSzPct val="100000"/>
        <a:buFont typeface="SKODA Next" panose="020B0504020603020204" pitchFamily="34" charset="0"/>
        <a:buChar char="−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2pPr>
      <a:lvl3pPr marL="540000" indent="-180000" algn="l" defTabSz="1043056" rtl="0" eaLnBrk="1" latinLnBrk="0" hangingPunct="1">
        <a:lnSpc>
          <a:spcPct val="115000"/>
        </a:lnSpc>
        <a:spcBef>
          <a:spcPts val="0"/>
        </a:spcBef>
        <a:buClrTx/>
        <a:buSzPct val="100000"/>
        <a:buFont typeface="SKODA Next" panose="020B0504020603020204" pitchFamily="34" charset="0"/>
        <a:buChar char="−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3pPr>
      <a:lvl4pPr marL="720000" indent="-180000" algn="l" defTabSz="1043056" rtl="0" eaLnBrk="1" latinLnBrk="0" hangingPunct="1">
        <a:lnSpc>
          <a:spcPct val="115000"/>
        </a:lnSpc>
        <a:spcBef>
          <a:spcPts val="0"/>
        </a:spcBef>
        <a:buClrTx/>
        <a:buSzPct val="100000"/>
        <a:buFont typeface="SKODA Next" panose="020B0504020603020204" pitchFamily="34" charset="0"/>
        <a:buChar char="−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4pPr>
      <a:lvl5pPr marL="900000" indent="-180000" algn="l" defTabSz="1043056" rtl="0" eaLnBrk="1" latinLnBrk="0" hangingPunct="1">
        <a:lnSpc>
          <a:spcPct val="115000"/>
        </a:lnSpc>
        <a:spcBef>
          <a:spcPts val="0"/>
        </a:spcBef>
        <a:buClrTx/>
        <a:buSzPct val="100000"/>
        <a:buFont typeface="SKODA Next" panose="020B0504020603020204" pitchFamily="34" charset="0"/>
        <a:buChar char="−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5pPr>
      <a:lvl6pPr marL="900000" indent="0" algn="l" defTabSz="1043056" rtl="0" eaLnBrk="1" latinLnBrk="0" hangingPunct="1">
        <a:lnSpc>
          <a:spcPct val="114000"/>
        </a:lnSpc>
        <a:spcBef>
          <a:spcPts val="0"/>
        </a:spcBef>
        <a:buClrTx/>
        <a:buFont typeface="SKODA Next" panose="020B0504020603020204" pitchFamily="34" charset="0"/>
        <a:buNone/>
        <a:defRPr sz="1600" kern="1200">
          <a:solidFill>
            <a:schemeClr val="tx1"/>
          </a:solidFill>
          <a:latin typeface="SKODA Next" panose="020B0504020603020204" pitchFamily="34" charset="0"/>
          <a:ea typeface="+mn-ea"/>
          <a:cs typeface="+mn-cs"/>
        </a:defRPr>
      </a:lvl6pPr>
      <a:lvl7pPr marL="1260000" indent="-180000" algn="l" defTabSz="1043056" rtl="0" eaLnBrk="1" latinLnBrk="0" hangingPunct="1">
        <a:lnSpc>
          <a:spcPct val="114000"/>
        </a:lnSpc>
        <a:spcBef>
          <a:spcPts val="0"/>
        </a:spcBef>
        <a:buFont typeface="SKODA Next" panose="020B0504020603020204" pitchFamily="34" charset="0"/>
        <a:buChar char="−"/>
        <a:defRPr sz="1600" kern="1200">
          <a:solidFill>
            <a:schemeClr val="tx1"/>
          </a:solidFill>
          <a:latin typeface="SKODA Next" panose="020B0504020603020204" pitchFamily="34" charset="0"/>
          <a:ea typeface="+mn-ea"/>
          <a:cs typeface="+mn-cs"/>
        </a:defRPr>
      </a:lvl7pPr>
      <a:lvl8pPr marL="1440000" indent="-180000" algn="l" defTabSz="1043056" rtl="0" eaLnBrk="1" latinLnBrk="0" hangingPunct="1">
        <a:lnSpc>
          <a:spcPct val="114000"/>
        </a:lnSpc>
        <a:spcBef>
          <a:spcPts val="0"/>
        </a:spcBef>
        <a:buFont typeface="SKODA Next" panose="020B0504020603020204" pitchFamily="34" charset="0"/>
        <a:buChar char="−"/>
        <a:defRPr sz="1600" kern="1200">
          <a:solidFill>
            <a:schemeClr val="tx1"/>
          </a:solidFill>
          <a:latin typeface="SKODA Next" panose="020B0504020603020204" pitchFamily="34" charset="0"/>
          <a:ea typeface="+mn-ea"/>
          <a:cs typeface="+mn-cs"/>
        </a:defRPr>
      </a:lvl8pPr>
      <a:lvl9pPr marL="1620000" indent="-180000" algn="l" defTabSz="1043056" rtl="0" eaLnBrk="1" latinLnBrk="0" hangingPunct="1">
        <a:lnSpc>
          <a:spcPct val="114000"/>
        </a:lnSpc>
        <a:spcBef>
          <a:spcPts val="0"/>
        </a:spcBef>
        <a:buFont typeface="SKODA Next" panose="020B0504020603020204" pitchFamily="34" charset="0"/>
        <a:buChar char="−"/>
        <a:defRPr sz="1600" kern="1200">
          <a:solidFill>
            <a:schemeClr val="tx1"/>
          </a:solidFill>
          <a:latin typeface="SKODA Next" panose="020B0504020603020204" pitchFamily="34" charset="0"/>
          <a:ea typeface="+mn-ea"/>
          <a:cs typeface="+mn-cs"/>
        </a:defRPr>
      </a:lvl9pPr>
    </p:bodyStyle>
    <p:otherStyle>
      <a:defPPr>
        <a:defRPr lang="cs-CZ"/>
      </a:defPPr>
      <a:lvl1pPr marL="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52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305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58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6112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639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916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69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222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0">
          <p15:clr>
            <a:srgbClr val="F26B43"/>
          </p15:clr>
        </p15:guide>
        <p15:guide id="2" pos="3322">
          <p15:clr>
            <a:srgbClr val="F26B43"/>
          </p15:clr>
        </p15:guide>
        <p15:guide id="3" pos="2370">
          <p15:clr>
            <a:srgbClr val="F26B43"/>
          </p15:clr>
        </p15:guide>
        <p15:guide id="4" pos="2279">
          <p15:clr>
            <a:srgbClr val="F26B43"/>
          </p15:clr>
        </p15:guide>
        <p15:guide id="5" pos="1326">
          <p15:clr>
            <a:srgbClr val="F26B43"/>
          </p15:clr>
        </p15:guide>
        <p15:guide id="6" pos="1236">
          <p15:clr>
            <a:srgbClr val="F26B43"/>
          </p15:clr>
        </p15:guide>
        <p15:guide id="7" pos="283">
          <p15:clr>
            <a:srgbClr val="F26B43"/>
          </p15:clr>
        </p15:guide>
        <p15:guide id="8" pos="3413">
          <p15:clr>
            <a:srgbClr val="F26B43"/>
          </p15:clr>
        </p15:guide>
        <p15:guide id="9" pos="4365">
          <p15:clr>
            <a:srgbClr val="F26B43"/>
          </p15:clr>
        </p15:guide>
        <p15:guide id="10" pos="4456">
          <p15:clr>
            <a:srgbClr val="F26B43"/>
          </p15:clr>
        </p15:guide>
        <p15:guide id="11" pos="5409">
          <p15:clr>
            <a:srgbClr val="F26B43"/>
          </p15:clr>
        </p15:guide>
        <p15:guide id="12" pos="5499">
          <p15:clr>
            <a:srgbClr val="F26B43"/>
          </p15:clr>
        </p15:guide>
        <p15:guide id="14" orient="horz" pos="828">
          <p15:clr>
            <a:srgbClr val="F26B43"/>
          </p15:clr>
        </p15:guide>
        <p15:guide id="15" orient="horz" pos="3368">
          <p15:clr>
            <a:srgbClr val="F26B43"/>
          </p15:clr>
        </p15:guide>
        <p15:guide id="16" orient="horz" pos="2052">
          <p15:clr>
            <a:srgbClr val="F26B43"/>
          </p15:clr>
        </p15:guide>
        <p15:guide id="17" orient="horz" pos="2143">
          <p15:clr>
            <a:srgbClr val="F26B43"/>
          </p15:clr>
        </p15:guide>
        <p15:guide id="18" pos="645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2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2.xml"/><Relationship Id="rId4" Type="http://schemas.openxmlformats.org/officeDocument/2006/relationships/chart" Target="../charts/char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13" Type="http://schemas.openxmlformats.org/officeDocument/2006/relationships/image" Target="../media/image37.png"/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12" Type="http://schemas.openxmlformats.org/officeDocument/2006/relationships/image" Target="../media/image36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30.png"/><Relationship Id="rId11" Type="http://schemas.openxmlformats.org/officeDocument/2006/relationships/image" Target="../media/image35.png"/><Relationship Id="rId5" Type="http://schemas.openxmlformats.org/officeDocument/2006/relationships/image" Target="../media/image29.png"/><Relationship Id="rId10" Type="http://schemas.openxmlformats.org/officeDocument/2006/relationships/image" Target="../media/image34.png"/><Relationship Id="rId4" Type="http://schemas.openxmlformats.org/officeDocument/2006/relationships/image" Target="../media/image28.png"/><Relationship Id="rId9" Type="http://schemas.openxmlformats.org/officeDocument/2006/relationships/image" Target="../media/image3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43.png"/><Relationship Id="rId5" Type="http://schemas.openxmlformats.org/officeDocument/2006/relationships/image" Target="../media/image42.png"/><Relationship Id="rId4" Type="http://schemas.openxmlformats.org/officeDocument/2006/relationships/image" Target="../media/image4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62.xml"/><Relationship Id="rId6" Type="http://schemas.openxmlformats.org/officeDocument/2006/relationships/image" Target="../media/image48.png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7" Type="http://schemas.openxmlformats.org/officeDocument/2006/relationships/image" Target="../media/image54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65.xml"/><Relationship Id="rId6" Type="http://schemas.openxmlformats.org/officeDocument/2006/relationships/image" Target="../media/image53.png"/><Relationship Id="rId5" Type="http://schemas.openxmlformats.org/officeDocument/2006/relationships/image" Target="../media/image52.png"/><Relationship Id="rId4" Type="http://schemas.openxmlformats.org/officeDocument/2006/relationships/image" Target="../media/image51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6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8676CF4-40BC-EDA0-6A3D-1BCD947BA9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/>
              <a:t>eMobility</a:t>
            </a:r>
            <a:r>
              <a:rPr lang="cs-CZ" dirty="0"/>
              <a:t> Škoda Auto</a:t>
            </a:r>
          </a:p>
        </p:txBody>
      </p:sp>
      <p:sp>
        <p:nvSpPr>
          <p:cNvPr id="3" name="Zástupný symbol pro číslo snímku 2">
            <a:extLst>
              <a:ext uri="{FF2B5EF4-FFF2-40B4-BE49-F238E27FC236}">
                <a16:creationId xmlns:a16="http://schemas.microsoft.com/office/drawing/2014/main" id="{DAF32C9D-8C70-65E8-0205-EA56D9128AF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956721-BB38-4972-8ACD-5A2C9377E3B4}" type="slidenum">
              <a:rPr lang="cs-CZ" noProof="0" smtClean="0"/>
              <a:pPr/>
              <a:t>1</a:t>
            </a:fld>
            <a:endParaRPr lang="cs-CZ" noProof="0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6DDE23EB-BCF7-0AF0-94BE-AEE1DECFD3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S15 | 08.06.2023 | Future city tech | VTO | Miroslav Holan</a:t>
            </a:r>
            <a:endParaRPr lang="cs-CZ" noProof="0"/>
          </a:p>
        </p:txBody>
      </p:sp>
    </p:spTree>
    <p:extLst>
      <p:ext uri="{BB962C8B-B14F-4D97-AF65-F5344CB8AC3E}">
        <p14:creationId xmlns:p14="http://schemas.microsoft.com/office/powerpoint/2010/main" val="405966846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číslo snímku 1">
            <a:extLst>
              <a:ext uri="{FF2B5EF4-FFF2-40B4-BE49-F238E27FC236}">
                <a16:creationId xmlns:a16="http://schemas.microsoft.com/office/drawing/2014/main" id="{E740B17C-3060-F4EE-C0B4-F50F052D9B6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956721-BB38-4972-8ACD-5A2C9377E3B4}" type="slidenum">
              <a:rPr lang="cs-CZ" noProof="0" smtClean="0"/>
              <a:pPr/>
              <a:t>10</a:t>
            </a:fld>
            <a:endParaRPr lang="cs-CZ" noProof="0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14AA83CF-D991-2FBD-3233-79770B3863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S15 | 08.06.2023 | Future city tech | VTO | Miroslav Holan</a:t>
            </a:r>
            <a:endParaRPr lang="cs-CZ" noProof="0"/>
          </a:p>
        </p:txBody>
      </p:sp>
      <p:sp>
        <p:nvSpPr>
          <p:cNvPr id="5" name="Nadpis 4">
            <a:extLst>
              <a:ext uri="{FF2B5EF4-FFF2-40B4-BE49-F238E27FC236}">
                <a16:creationId xmlns:a16="http://schemas.microsoft.com/office/drawing/2014/main" id="{B1F87279-9F0E-B38C-882D-63C1053D8B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>
                <a:solidFill>
                  <a:srgbClr val="78FAAE"/>
                </a:solidFill>
              </a:rPr>
              <a:t>Projekty a kooperace</a:t>
            </a:r>
          </a:p>
        </p:txBody>
      </p:sp>
      <p:pic>
        <p:nvPicPr>
          <p:cNvPr id="6" name="Obrázek 5">
            <a:extLst>
              <a:ext uri="{FF2B5EF4-FFF2-40B4-BE49-F238E27FC236}">
                <a16:creationId xmlns:a16="http://schemas.microsoft.com/office/drawing/2014/main" id="{1E350CAB-E54C-896A-E3EB-A75EB14017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674389"/>
            <a:ext cx="10691813" cy="4879096"/>
          </a:xfrm>
          <a:prstGeom prst="rect">
            <a:avLst/>
          </a:prstGeom>
        </p:spPr>
      </p:pic>
      <p:pic>
        <p:nvPicPr>
          <p:cNvPr id="13" name="Obrázek 12">
            <a:extLst>
              <a:ext uri="{FF2B5EF4-FFF2-40B4-BE49-F238E27FC236}">
                <a16:creationId xmlns:a16="http://schemas.microsoft.com/office/drawing/2014/main" id="{2B321664-FC8C-AA6B-214C-D26D73966C4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4243" y="629874"/>
            <a:ext cx="3390900" cy="523875"/>
          </a:xfrm>
          <a:prstGeom prst="rect">
            <a:avLst/>
          </a:prstGeom>
        </p:spPr>
      </p:pic>
      <p:sp>
        <p:nvSpPr>
          <p:cNvPr id="11" name="Zástupný text 10">
            <a:extLst>
              <a:ext uri="{FF2B5EF4-FFF2-40B4-BE49-F238E27FC236}">
                <a16:creationId xmlns:a16="http://schemas.microsoft.com/office/drawing/2014/main" id="{D2A06545-9025-0D54-F783-F12CAB24CE1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cs-CZ" dirty="0"/>
              <a:t>Podepsaná memoranda</a:t>
            </a:r>
          </a:p>
        </p:txBody>
      </p:sp>
    </p:spTree>
    <p:extLst>
      <p:ext uri="{BB962C8B-B14F-4D97-AF65-F5344CB8AC3E}">
        <p14:creationId xmlns:p14="http://schemas.microsoft.com/office/powerpoint/2010/main" val="298697938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dz7_2979.jpg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561" y="1"/>
            <a:ext cx="10743623" cy="6074255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-5218" y="2731083"/>
            <a:ext cx="10720178" cy="769441"/>
          </a:xfrm>
          <a:prstGeom prst="rect">
            <a:avLst/>
          </a:prstGeom>
          <a:noFill/>
          <a:effectLst>
            <a:outerShdw blurRad="606425" dist="38100" dir="2700000" algn="tl" rotWithShape="0">
              <a:prstClr val="black">
                <a:alpha val="75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cs-CZ" sz="4400" b="1" dirty="0">
                <a:solidFill>
                  <a:srgbClr val="78FAAE"/>
                </a:solidFill>
                <a:latin typeface="SKODA Next"/>
                <a:cs typeface="SKODA Next Arabic Black"/>
              </a:rPr>
              <a:t>Děkujeme za pozornost</a:t>
            </a:r>
            <a:endParaRPr lang="en-US" sz="4400" b="1" dirty="0">
              <a:solidFill>
                <a:srgbClr val="78FAAE"/>
              </a:solidFill>
              <a:latin typeface="SKODA Next"/>
              <a:cs typeface="SKODA Next Arabic Black"/>
            </a:endParaRPr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641318A1-0D2A-8DC0-5219-3A1281FA7B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15 | 08.06.2023 | Future city tech | VTO | Miroslav Holan</a:t>
            </a:r>
          </a:p>
        </p:txBody>
      </p:sp>
      <p:sp>
        <p:nvSpPr>
          <p:cNvPr id="3" name="Zástupný symbol pro číslo snímku 2">
            <a:extLst>
              <a:ext uri="{FF2B5EF4-FFF2-40B4-BE49-F238E27FC236}">
                <a16:creationId xmlns:a16="http://schemas.microsoft.com/office/drawing/2014/main" id="{42417680-F858-D928-DF52-070C975526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9243A6-B03B-F846-B79B-F97B7CF8FDDF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128668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číslo snímku 1">
            <a:extLst>
              <a:ext uri="{FF2B5EF4-FFF2-40B4-BE49-F238E27FC236}">
                <a16:creationId xmlns:a16="http://schemas.microsoft.com/office/drawing/2014/main" id="{751BBBC9-97BC-C8DC-37FC-D960FB22B2F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956721-BB38-4972-8ACD-5A2C9377E3B4}" type="slidenum">
              <a:rPr lang="cs-CZ" noProof="0" smtClean="0"/>
              <a:pPr/>
              <a:t>12</a:t>
            </a:fld>
            <a:endParaRPr lang="cs-CZ" noProof="0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6F5E8AF6-B094-109A-3B97-A56CA821EE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S15 | 08.06.2023 | Future city tech | VTO | Miroslav Holan</a:t>
            </a:r>
            <a:endParaRPr lang="cs-CZ" noProof="0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CFBD1878-04A6-8EF4-162C-D82D60B587A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Nadpis 4">
            <a:extLst>
              <a:ext uri="{FF2B5EF4-FFF2-40B4-BE49-F238E27FC236}">
                <a16:creationId xmlns:a16="http://schemas.microsoft.com/office/drawing/2014/main" id="{F815C6C7-7653-B423-FA09-6FC7CF0B24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/>
              <a:t>Backup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6696194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Obrázek 8">
            <a:extLst>
              <a:ext uri="{FF2B5EF4-FFF2-40B4-BE49-F238E27FC236}">
                <a16:creationId xmlns:a16="http://schemas.microsoft.com/office/drawing/2014/main" id="{A9A67C90-FE48-02B7-64F3-35F957BC0E7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86043" y="0"/>
            <a:ext cx="9603741" cy="6016265"/>
          </a:xfrm>
          <a:prstGeom prst="rect">
            <a:avLst/>
          </a:prstGeom>
        </p:spPr>
      </p:pic>
      <p:sp>
        <p:nvSpPr>
          <p:cNvPr id="30" name="Номер слайда 1">
            <a:extLst>
              <a:ext uri="{FF2B5EF4-FFF2-40B4-BE49-F238E27FC236}">
                <a16:creationId xmlns:a16="http://schemas.microsoft.com/office/drawing/2014/main" id="{B01045C4-F330-B34C-8D6B-12632D28E5E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877B3-D348-4611-9BDB-C5374591D951}" type="slidenum">
              <a:rPr lang="en-US" smtClean="0">
                <a:solidFill>
                  <a:schemeClr val="bg1">
                    <a:alpha val="50000"/>
                  </a:schemeClr>
                </a:solidFill>
              </a:rPr>
              <a:pPr/>
              <a:t>13</a:t>
            </a:fld>
            <a:endParaRPr lang="en-US" dirty="0">
              <a:solidFill>
                <a:schemeClr val="bg1">
                  <a:alpha val="50000"/>
                </a:schemeClr>
              </a:solidFill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45D19946-AA4E-9529-2D94-F82F1AEA59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2620" y="263458"/>
            <a:ext cx="9793287" cy="360000"/>
          </a:xfrm>
        </p:spPr>
        <p:txBody>
          <a:bodyPr/>
          <a:lstStyle/>
          <a:p>
            <a:r>
              <a:rPr lang="cs-CZ" sz="2400" b="1" spc="56" dirty="0">
                <a:solidFill>
                  <a:schemeClr val="tx1"/>
                </a:solidFill>
                <a:effectLst>
                  <a:outerShdw blurRad="381000" dist="38100" dir="2700000" algn="tl" rotWithShape="0">
                    <a:prstClr val="black">
                      <a:alpha val="15000"/>
                    </a:prstClr>
                  </a:outerShdw>
                </a:effectLst>
                <a:latin typeface="+mj-lt"/>
              </a:rPr>
              <a:t>Vývoj nabíjecí infrastruktury v ČR</a:t>
            </a:r>
            <a:br>
              <a:rPr lang="cs-CZ" sz="2800" b="1" spc="56" dirty="0">
                <a:solidFill>
                  <a:srgbClr val="FFFFFF"/>
                </a:solidFill>
                <a:effectLst>
                  <a:outerShdw blurRad="381000" dist="38100" dir="2700000" algn="tl" rotWithShape="0">
                    <a:prstClr val="black">
                      <a:alpha val="15000"/>
                    </a:prstClr>
                  </a:outerShdw>
                </a:effectLst>
                <a:latin typeface="+mj-lt"/>
              </a:rPr>
            </a:br>
            <a:endParaRPr lang="cs-CZ" sz="2800" dirty="0"/>
          </a:p>
        </p:txBody>
      </p:sp>
      <p:sp>
        <p:nvSpPr>
          <p:cNvPr id="31" name="CustomShape 3">
            <a:extLst>
              <a:ext uri="{FF2B5EF4-FFF2-40B4-BE49-F238E27FC236}">
                <a16:creationId xmlns:a16="http://schemas.microsoft.com/office/drawing/2014/main" id="{EB83CBB7-6009-4EFA-9016-A912A1567910}"/>
              </a:ext>
            </a:extLst>
          </p:cNvPr>
          <p:cNvSpPr/>
          <p:nvPr/>
        </p:nvSpPr>
        <p:spPr>
          <a:xfrm>
            <a:off x="10038840" y="157791"/>
            <a:ext cx="356399" cy="316004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/>
          <a:lstStyle/>
          <a:p>
            <a:pPr algn="r">
              <a:lnSpc>
                <a:spcPct val="100000"/>
              </a:lnSpc>
            </a:pPr>
            <a:fld id="{3607BB32-99BE-4811-BC89-3C39879FE3B6}" type="slidenum">
              <a:rPr lang="cs-CZ" sz="701" b="1" spc="-1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SKODA Next Black"/>
                <a:ea typeface="DejaVu Sans"/>
              </a:rPr>
              <a:t>13</a:t>
            </a:fld>
            <a:endParaRPr lang="cs-CZ" sz="2104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Arial"/>
            </a:endParaRPr>
          </a:p>
        </p:txBody>
      </p:sp>
      <p:sp>
        <p:nvSpPr>
          <p:cNvPr id="32" name="Line 4">
            <a:extLst>
              <a:ext uri="{FF2B5EF4-FFF2-40B4-BE49-F238E27FC236}">
                <a16:creationId xmlns:a16="http://schemas.microsoft.com/office/drawing/2014/main" id="{FE5CD6F8-EDAE-4D6A-BE4F-A68DEDC5E11B}"/>
              </a:ext>
            </a:extLst>
          </p:cNvPr>
          <p:cNvSpPr/>
          <p:nvPr/>
        </p:nvSpPr>
        <p:spPr>
          <a:xfrm>
            <a:off x="10437738" y="315583"/>
            <a:ext cx="252046" cy="421"/>
          </a:xfrm>
          <a:prstGeom prst="line">
            <a:avLst/>
          </a:prstGeom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33" name="CustomShape 5">
            <a:extLst>
              <a:ext uri="{FF2B5EF4-FFF2-40B4-BE49-F238E27FC236}">
                <a16:creationId xmlns:a16="http://schemas.microsoft.com/office/drawing/2014/main" id="{60B1473A-C4C9-48FA-8889-D2AB52D54676}"/>
              </a:ext>
            </a:extLst>
          </p:cNvPr>
          <p:cNvSpPr/>
          <p:nvPr/>
        </p:nvSpPr>
        <p:spPr>
          <a:xfrm>
            <a:off x="10483603" y="307167"/>
            <a:ext cx="209547" cy="11782"/>
          </a:xfrm>
          <a:prstGeom prst="rect">
            <a:avLst/>
          </a:prstGeom>
          <a:solidFill>
            <a:srgbClr val="FFFFFF">
              <a:alpha val="50000"/>
            </a:srgb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105194" tIns="52597" rIns="105194" bIns="52597" anchor="ctr"/>
          <a:lstStyle/>
          <a:p>
            <a:pPr algn="ctr">
              <a:lnSpc>
                <a:spcPct val="100000"/>
              </a:lnSpc>
            </a:pPr>
            <a:r>
              <a:rPr lang="cs-CZ" sz="2104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Arial"/>
                <a:ea typeface="DejaVu Sans"/>
              </a:rPr>
              <a:t> </a:t>
            </a:r>
            <a:endParaRPr lang="cs-CZ" sz="2104" spc="-1" dirty="0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Arial"/>
            </a:endParaRPr>
          </a:p>
        </p:txBody>
      </p:sp>
      <p:sp>
        <p:nvSpPr>
          <p:cNvPr id="98" name="Footer Placeholder 5">
            <a:extLst>
              <a:ext uri="{FF2B5EF4-FFF2-40B4-BE49-F238E27FC236}">
                <a16:creationId xmlns:a16="http://schemas.microsoft.com/office/drawing/2014/main" id="{468DFE0D-77D5-42D3-CE0D-A32070F266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46000" y="5598000"/>
            <a:ext cx="7740788" cy="180000"/>
          </a:xfrm>
        </p:spPr>
        <p:txBody>
          <a:bodyPr/>
          <a:lstStyle/>
          <a:p>
            <a:r>
              <a:rPr lang="en-US"/>
              <a:t>S15 | 08.06.2023 | Future city tech | VTO | Miroslav Holan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4FA88B78-3848-3E3B-CB49-B906210646C5}"/>
              </a:ext>
            </a:extLst>
          </p:cNvPr>
          <p:cNvGrpSpPr/>
          <p:nvPr/>
        </p:nvGrpSpPr>
        <p:grpSpPr>
          <a:xfrm>
            <a:off x="210234" y="899750"/>
            <a:ext cx="5344588" cy="3556973"/>
            <a:chOff x="773529" y="1712751"/>
            <a:chExt cx="6092349" cy="4522582"/>
          </a:xfrm>
        </p:grpSpPr>
        <p:graphicFrame>
          <p:nvGraphicFramePr>
            <p:cNvPr id="4" name="Graf 3">
              <a:extLst>
                <a:ext uri="{FF2B5EF4-FFF2-40B4-BE49-F238E27FC236}">
                  <a16:creationId xmlns:a16="http://schemas.microsoft.com/office/drawing/2014/main" id="{9BF8B1C3-FA60-05ED-1530-E6F1A6D24AA6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20068266"/>
                </p:ext>
              </p:extLst>
            </p:nvPr>
          </p:nvGraphicFramePr>
          <p:xfrm>
            <a:off x="773529" y="1712751"/>
            <a:ext cx="6092349" cy="452258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sp>
          <p:nvSpPr>
            <p:cNvPr id="5" name="Ovál 5">
              <a:extLst>
                <a:ext uri="{FF2B5EF4-FFF2-40B4-BE49-F238E27FC236}">
                  <a16:creationId xmlns:a16="http://schemas.microsoft.com/office/drawing/2014/main" id="{FC908F23-FD3B-4471-3DE9-AE3D5C1EFA17}"/>
                </a:ext>
              </a:extLst>
            </p:cNvPr>
            <p:cNvSpPr/>
            <p:nvPr/>
          </p:nvSpPr>
          <p:spPr>
            <a:xfrm>
              <a:off x="1342027" y="4951171"/>
              <a:ext cx="2451729" cy="792359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522"/>
              <a:r>
                <a:rPr lang="cs-CZ" sz="1400" dirty="0">
                  <a:solidFill>
                    <a:srgbClr val="0E3A2F"/>
                  </a:solidFill>
                  <a:latin typeface="SKODA Next"/>
                </a:rPr>
                <a:t>+ 58 %</a:t>
              </a:r>
            </a:p>
          </p:txBody>
        </p:sp>
        <p:sp>
          <p:nvSpPr>
            <p:cNvPr id="7" name="Ovál 6">
              <a:extLst>
                <a:ext uri="{FF2B5EF4-FFF2-40B4-BE49-F238E27FC236}">
                  <a16:creationId xmlns:a16="http://schemas.microsoft.com/office/drawing/2014/main" id="{9D1593C4-A01B-B89E-F5AE-6FBCC868F16A}"/>
                </a:ext>
              </a:extLst>
            </p:cNvPr>
            <p:cNvSpPr/>
            <p:nvPr/>
          </p:nvSpPr>
          <p:spPr>
            <a:xfrm>
              <a:off x="2766208" y="4469171"/>
              <a:ext cx="2451729" cy="792359"/>
            </a:xfrm>
            <a:prstGeom prst="ellipse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522"/>
              <a:r>
                <a:rPr lang="cs-CZ" sz="1400" dirty="0">
                  <a:solidFill>
                    <a:srgbClr val="0E3A2F"/>
                  </a:solidFill>
                  <a:latin typeface="SKODA Next"/>
                </a:rPr>
                <a:t>+ 53 %</a:t>
              </a:r>
            </a:p>
          </p:txBody>
        </p:sp>
      </p:grpSp>
      <p:sp>
        <p:nvSpPr>
          <p:cNvPr id="6" name="TextovéPole 5">
            <a:extLst>
              <a:ext uri="{FF2B5EF4-FFF2-40B4-BE49-F238E27FC236}">
                <a16:creationId xmlns:a16="http://schemas.microsoft.com/office/drawing/2014/main" id="{3BB64FAF-C68A-D5B6-6CE0-95E644AC33A3}"/>
              </a:ext>
            </a:extLst>
          </p:cNvPr>
          <p:cNvSpPr txBox="1"/>
          <p:nvPr/>
        </p:nvSpPr>
        <p:spPr>
          <a:xfrm>
            <a:off x="660065" y="1625929"/>
            <a:ext cx="154452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Clr>
                <a:srgbClr val="0E3A2F"/>
              </a:buClr>
              <a:buFont typeface="Wingdings" panose="05000000000000000000" pitchFamily="2" charset="2"/>
              <a:buChar char="§"/>
            </a:pPr>
            <a:r>
              <a:rPr lang="cs-CZ" sz="1100" b="1" dirty="0">
                <a:solidFill>
                  <a:srgbClr val="0E3A2F"/>
                </a:solidFill>
              </a:rPr>
              <a:t>Celkový počet nabíjecích bodů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8BE43F17-E6A6-E925-68EA-38A6FCB129D5}"/>
              </a:ext>
            </a:extLst>
          </p:cNvPr>
          <p:cNvSpPr txBox="1"/>
          <p:nvPr/>
        </p:nvSpPr>
        <p:spPr>
          <a:xfrm>
            <a:off x="660065" y="2085782"/>
            <a:ext cx="154452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Clr>
                <a:srgbClr val="78FAAE"/>
              </a:buClr>
              <a:buFont typeface="Wingdings" panose="05000000000000000000" pitchFamily="2" charset="2"/>
              <a:buChar char="§"/>
            </a:pPr>
            <a:r>
              <a:rPr lang="cs-CZ" sz="1100" b="1" dirty="0">
                <a:solidFill>
                  <a:srgbClr val="78FAAE"/>
                </a:solidFill>
              </a:rPr>
              <a:t>Počet HPC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5B871E4D-2225-3562-1401-E79C1DE5925C}"/>
              </a:ext>
            </a:extLst>
          </p:cNvPr>
          <p:cNvSpPr txBox="1"/>
          <p:nvPr/>
        </p:nvSpPr>
        <p:spPr>
          <a:xfrm>
            <a:off x="660065" y="4812031"/>
            <a:ext cx="5265944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100" dirty="0">
                <a:solidFill>
                  <a:srgbClr val="0E3A2F"/>
                </a:solidFill>
              </a:rPr>
              <a:t>Cíl národního akčního plánu čisté mobility: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cs-CZ" sz="1100" dirty="0"/>
              <a:t>2025 – </a:t>
            </a:r>
            <a:r>
              <a:rPr lang="cs-CZ" sz="1100" b="1" dirty="0"/>
              <a:t>11 000 </a:t>
            </a:r>
            <a:r>
              <a:rPr lang="cs-CZ" sz="1100" dirty="0"/>
              <a:t>nabíjecích bodů (800 HPC)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cs-CZ" sz="1100" dirty="0"/>
              <a:t>2030 – </a:t>
            </a:r>
            <a:r>
              <a:rPr lang="cs-CZ" sz="1100" b="1" dirty="0"/>
              <a:t>35 000 </a:t>
            </a:r>
            <a:r>
              <a:rPr lang="cs-CZ" sz="1100" dirty="0"/>
              <a:t>nabíjecích bodů (2300 HPC)</a:t>
            </a:r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ED627101-29AD-E70C-AC21-07816DAB59B2}"/>
              </a:ext>
            </a:extLst>
          </p:cNvPr>
          <p:cNvSpPr/>
          <p:nvPr/>
        </p:nvSpPr>
        <p:spPr>
          <a:xfrm>
            <a:off x="4646248" y="1880004"/>
            <a:ext cx="563812" cy="227352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6E9CEB9F-59AC-3140-D472-4113CF472E0E}"/>
              </a:ext>
            </a:extLst>
          </p:cNvPr>
          <p:cNvSpPr txBox="1"/>
          <p:nvPr/>
        </p:nvSpPr>
        <p:spPr>
          <a:xfrm>
            <a:off x="4662036" y="3845753"/>
            <a:ext cx="56381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b="1" dirty="0">
                <a:solidFill>
                  <a:srgbClr val="78FAAE"/>
                </a:solidFill>
              </a:rPr>
              <a:t>109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EC1FBB4B-B042-A028-DEF3-2AD8C083B8CA}"/>
              </a:ext>
            </a:extLst>
          </p:cNvPr>
          <p:cNvSpPr txBox="1"/>
          <p:nvPr/>
        </p:nvSpPr>
        <p:spPr>
          <a:xfrm>
            <a:off x="4414986" y="896817"/>
            <a:ext cx="102970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200" b="1" dirty="0">
                <a:solidFill>
                  <a:schemeClr val="accent4"/>
                </a:solidFill>
              </a:rPr>
              <a:t>5 000</a:t>
            </a:r>
          </a:p>
          <a:p>
            <a:pPr algn="ctr"/>
            <a:r>
              <a:rPr lang="cs-CZ" sz="1200" b="1" dirty="0">
                <a:solidFill>
                  <a:schemeClr val="accent4"/>
                </a:solidFill>
              </a:rPr>
              <a:t>(plán 2023)</a:t>
            </a:r>
          </a:p>
        </p:txBody>
      </p:sp>
    </p:spTree>
    <p:extLst>
      <p:ext uri="{BB962C8B-B14F-4D97-AF65-F5344CB8AC3E}">
        <p14:creationId xmlns:p14="http://schemas.microsoft.com/office/powerpoint/2010/main" val="132384832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číslo snímku 1">
            <a:extLst>
              <a:ext uri="{FF2B5EF4-FFF2-40B4-BE49-F238E27FC236}">
                <a16:creationId xmlns:a16="http://schemas.microsoft.com/office/drawing/2014/main" id="{42FC4C0B-65EA-3FA6-D70F-30012FF3CD9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956721-BB38-4972-8ACD-5A2C9377E3B4}" type="slidenum">
              <a:rPr lang="cs-CZ" noProof="0" smtClean="0"/>
              <a:pPr/>
              <a:t>2</a:t>
            </a:fld>
            <a:endParaRPr lang="cs-CZ" noProof="0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C47621E4-6293-7840-982F-CA5AE0096D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S15 | 08.06.2023 | Future city tech | VTO | Miroslav Holan</a:t>
            </a:r>
            <a:endParaRPr lang="cs-CZ" noProof="0"/>
          </a:p>
        </p:txBody>
      </p:sp>
      <p:sp>
        <p:nvSpPr>
          <p:cNvPr id="5" name="Nadpis 4">
            <a:extLst>
              <a:ext uri="{FF2B5EF4-FFF2-40B4-BE49-F238E27FC236}">
                <a16:creationId xmlns:a16="http://schemas.microsoft.com/office/drawing/2014/main" id="{C6547F85-858B-1508-4438-1AC5FBA6AA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000" b="1" dirty="0">
                <a:solidFill>
                  <a:srgbClr val="78FAAE"/>
                </a:solidFill>
                <a:latin typeface="SKODA Next"/>
                <a:cs typeface="SKODA Next Black"/>
              </a:rPr>
              <a:t>V příštím desetiletí zažijeme nejsilnější regulaci automobilového trhu EU v historii</a:t>
            </a:r>
            <a:br>
              <a:rPr lang="cs-CZ" sz="2000" b="1" dirty="0">
                <a:solidFill>
                  <a:srgbClr val="78FAAE"/>
                </a:solidFill>
                <a:latin typeface="SKODA Next"/>
                <a:cs typeface="SKODA Next Black"/>
              </a:rPr>
            </a:br>
            <a:endParaRPr lang="cs-CZ" dirty="0"/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E84CCB61-0667-8FE6-835F-A4FDDE7A45F1}"/>
              </a:ext>
            </a:extLst>
          </p:cNvPr>
          <p:cNvSpPr txBox="1"/>
          <p:nvPr/>
        </p:nvSpPr>
        <p:spPr>
          <a:xfrm>
            <a:off x="1422824" y="4740870"/>
            <a:ext cx="2140670" cy="6458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cs-CZ" sz="1199" b="1" dirty="0">
                <a:solidFill>
                  <a:srgbClr val="78FAAE"/>
                </a:solidFill>
                <a:latin typeface="SKODA Next" panose="020B0504020603020204" pitchFamily="34" charset="0"/>
              </a:rPr>
              <a:t>POVOLENA POUZE</a:t>
            </a:r>
          </a:p>
          <a:p>
            <a:r>
              <a:rPr lang="cs-CZ" sz="1199" b="1" dirty="0">
                <a:solidFill>
                  <a:srgbClr val="78FAAE"/>
                </a:solidFill>
                <a:latin typeface="SKODA Next" panose="020B0504020603020204" pitchFamily="34" charset="0"/>
              </a:rPr>
              <a:t>VOZIDLA</a:t>
            </a:r>
            <a:r>
              <a:rPr lang="cs-CZ" sz="1199" dirty="0">
                <a:solidFill>
                  <a:srgbClr val="78FAAE"/>
                </a:solidFill>
                <a:latin typeface="SKODA Next" panose="020B0504020603020204" pitchFamily="34" charset="0"/>
              </a:rPr>
              <a:t> </a:t>
            </a:r>
            <a:r>
              <a:rPr lang="cs-CZ" sz="1199" b="1" dirty="0">
                <a:solidFill>
                  <a:srgbClr val="78FAAE"/>
                </a:solidFill>
                <a:latin typeface="SKODA Next" panose="020B0504020603020204" pitchFamily="34" charset="0"/>
              </a:rPr>
              <a:t>S NULOVÝMI EMISEMI  </a:t>
            </a:r>
            <a:endParaRPr lang="cs-CZ" sz="1199" dirty="0">
              <a:solidFill>
                <a:srgbClr val="78FAAE"/>
              </a:solidFill>
              <a:latin typeface="SKODA Next" panose="020B0504020603020204" pitchFamily="34" charset="0"/>
            </a:endParaRPr>
          </a:p>
        </p:txBody>
      </p:sp>
      <p:sp>
        <p:nvSpPr>
          <p:cNvPr id="7" name="TextBox 1">
            <a:extLst>
              <a:ext uri="{FF2B5EF4-FFF2-40B4-BE49-F238E27FC236}">
                <a16:creationId xmlns:a16="http://schemas.microsoft.com/office/drawing/2014/main" id="{E82CF3CC-E2B5-8E61-A40F-3DAB216584BF}"/>
              </a:ext>
            </a:extLst>
          </p:cNvPr>
          <p:cNvSpPr txBox="1"/>
          <p:nvPr/>
        </p:nvSpPr>
        <p:spPr>
          <a:xfrm>
            <a:off x="1386450" y="4083327"/>
            <a:ext cx="837499" cy="3997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998" b="1" dirty="0">
                <a:solidFill>
                  <a:srgbClr val="78FAAE"/>
                </a:solidFill>
                <a:latin typeface="SKODA Next"/>
                <a:cs typeface="SKODA Next Black"/>
              </a:rPr>
              <a:t>2020</a:t>
            </a:r>
          </a:p>
        </p:txBody>
      </p:sp>
      <p:sp>
        <p:nvSpPr>
          <p:cNvPr id="8" name="TextBox 1">
            <a:extLst>
              <a:ext uri="{FF2B5EF4-FFF2-40B4-BE49-F238E27FC236}">
                <a16:creationId xmlns:a16="http://schemas.microsoft.com/office/drawing/2014/main" id="{FD682144-FC49-8792-DD4F-C2538D0968B2}"/>
              </a:ext>
            </a:extLst>
          </p:cNvPr>
          <p:cNvSpPr txBox="1"/>
          <p:nvPr/>
        </p:nvSpPr>
        <p:spPr>
          <a:xfrm>
            <a:off x="3640955" y="4083327"/>
            <a:ext cx="837499" cy="3997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998" b="1" dirty="0">
                <a:solidFill>
                  <a:srgbClr val="78FAAE"/>
                </a:solidFill>
                <a:latin typeface="SKODA Next"/>
                <a:cs typeface="SKODA Next Black"/>
              </a:rPr>
              <a:t>2025</a:t>
            </a:r>
          </a:p>
        </p:txBody>
      </p:sp>
      <p:sp>
        <p:nvSpPr>
          <p:cNvPr id="9" name="TextBox 1">
            <a:extLst>
              <a:ext uri="{FF2B5EF4-FFF2-40B4-BE49-F238E27FC236}">
                <a16:creationId xmlns:a16="http://schemas.microsoft.com/office/drawing/2014/main" id="{DFB2879C-EAF4-D325-D275-CFFB557E5466}"/>
              </a:ext>
            </a:extLst>
          </p:cNvPr>
          <p:cNvSpPr txBox="1"/>
          <p:nvPr/>
        </p:nvSpPr>
        <p:spPr>
          <a:xfrm>
            <a:off x="5880245" y="4083327"/>
            <a:ext cx="837499" cy="3997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998" b="1" dirty="0">
                <a:solidFill>
                  <a:srgbClr val="78FAAE"/>
                </a:solidFill>
                <a:latin typeface="SKODA Next"/>
                <a:cs typeface="SKODA Next Black"/>
              </a:rPr>
              <a:t>2030</a:t>
            </a:r>
          </a:p>
        </p:txBody>
      </p:sp>
      <p:sp>
        <p:nvSpPr>
          <p:cNvPr id="10" name="TextBox 1">
            <a:extLst>
              <a:ext uri="{FF2B5EF4-FFF2-40B4-BE49-F238E27FC236}">
                <a16:creationId xmlns:a16="http://schemas.microsoft.com/office/drawing/2014/main" id="{80AB6B93-F3CA-D998-DF10-50FF72B734A2}"/>
              </a:ext>
            </a:extLst>
          </p:cNvPr>
          <p:cNvSpPr txBox="1"/>
          <p:nvPr/>
        </p:nvSpPr>
        <p:spPr>
          <a:xfrm>
            <a:off x="8120927" y="4083327"/>
            <a:ext cx="837499" cy="3997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998" b="1" dirty="0">
                <a:solidFill>
                  <a:srgbClr val="78FAAE"/>
                </a:solidFill>
                <a:latin typeface="SKODA Next"/>
                <a:cs typeface="SKODA Next Black"/>
              </a:rPr>
              <a:t>2035</a:t>
            </a:r>
          </a:p>
        </p:txBody>
      </p:sp>
      <p:sp>
        <p:nvSpPr>
          <p:cNvPr id="11" name="TextBox 1">
            <a:extLst>
              <a:ext uri="{FF2B5EF4-FFF2-40B4-BE49-F238E27FC236}">
                <a16:creationId xmlns:a16="http://schemas.microsoft.com/office/drawing/2014/main" id="{E0099347-D43B-C112-42F6-4A5605A7B946}"/>
              </a:ext>
            </a:extLst>
          </p:cNvPr>
          <p:cNvSpPr txBox="1"/>
          <p:nvPr/>
        </p:nvSpPr>
        <p:spPr>
          <a:xfrm>
            <a:off x="1422824" y="1005083"/>
            <a:ext cx="1010386" cy="3997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998" b="1" dirty="0">
                <a:solidFill>
                  <a:srgbClr val="78FAAE"/>
                </a:solidFill>
                <a:latin typeface="SKODA Next"/>
                <a:cs typeface="SKODA Next Black"/>
              </a:rPr>
              <a:t>95 </a:t>
            </a:r>
            <a:r>
              <a:rPr lang="en-US" sz="1399" dirty="0">
                <a:solidFill>
                  <a:srgbClr val="78FAAE"/>
                </a:solidFill>
                <a:latin typeface="SKODA Next"/>
                <a:cs typeface="SKODA Next Black"/>
              </a:rPr>
              <a:t>g/km</a:t>
            </a:r>
          </a:p>
        </p:txBody>
      </p:sp>
      <p:sp>
        <p:nvSpPr>
          <p:cNvPr id="12" name="TextBox 1">
            <a:extLst>
              <a:ext uri="{FF2B5EF4-FFF2-40B4-BE49-F238E27FC236}">
                <a16:creationId xmlns:a16="http://schemas.microsoft.com/office/drawing/2014/main" id="{2495A366-3401-CE0F-C917-2B5D20F9AC95}"/>
              </a:ext>
            </a:extLst>
          </p:cNvPr>
          <p:cNvSpPr txBox="1"/>
          <p:nvPr/>
        </p:nvSpPr>
        <p:spPr>
          <a:xfrm>
            <a:off x="3618473" y="1398690"/>
            <a:ext cx="1010386" cy="3997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998" b="1" dirty="0">
                <a:solidFill>
                  <a:srgbClr val="78FAAE"/>
                </a:solidFill>
                <a:latin typeface="SKODA Next"/>
                <a:cs typeface="SKODA Next Black"/>
              </a:rPr>
              <a:t>80 </a:t>
            </a:r>
            <a:r>
              <a:rPr lang="en-US" sz="1399" dirty="0">
                <a:solidFill>
                  <a:srgbClr val="78FAAE"/>
                </a:solidFill>
                <a:latin typeface="SKODA Next"/>
                <a:cs typeface="SKODA Next Black"/>
              </a:rPr>
              <a:t>g/km</a:t>
            </a:r>
          </a:p>
        </p:txBody>
      </p:sp>
      <p:sp>
        <p:nvSpPr>
          <p:cNvPr id="13" name="TextBox 1">
            <a:extLst>
              <a:ext uri="{FF2B5EF4-FFF2-40B4-BE49-F238E27FC236}">
                <a16:creationId xmlns:a16="http://schemas.microsoft.com/office/drawing/2014/main" id="{09D826F9-1147-14FC-C00D-01263309FF96}"/>
              </a:ext>
            </a:extLst>
          </p:cNvPr>
          <p:cNvSpPr txBox="1"/>
          <p:nvPr/>
        </p:nvSpPr>
        <p:spPr>
          <a:xfrm>
            <a:off x="5843487" y="2242533"/>
            <a:ext cx="1010386" cy="3997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998" b="1" dirty="0">
                <a:solidFill>
                  <a:srgbClr val="78FAAE"/>
                </a:solidFill>
                <a:latin typeface="SKODA Next"/>
                <a:cs typeface="SKODA Next Black"/>
              </a:rPr>
              <a:t>43</a:t>
            </a:r>
            <a:r>
              <a:rPr lang="en-US" sz="1998" b="1" dirty="0">
                <a:solidFill>
                  <a:srgbClr val="78FAAE"/>
                </a:solidFill>
                <a:latin typeface="SKODA Next"/>
                <a:cs typeface="SKODA Next Black"/>
              </a:rPr>
              <a:t> </a:t>
            </a:r>
            <a:r>
              <a:rPr lang="en-US" sz="1399" dirty="0">
                <a:solidFill>
                  <a:srgbClr val="78FAAE"/>
                </a:solidFill>
                <a:latin typeface="SKODA Next"/>
                <a:cs typeface="SKODA Next Black"/>
              </a:rPr>
              <a:t>g/km</a:t>
            </a:r>
          </a:p>
        </p:txBody>
      </p:sp>
      <p:sp>
        <p:nvSpPr>
          <p:cNvPr id="14" name="TextBox 1">
            <a:extLst>
              <a:ext uri="{FF2B5EF4-FFF2-40B4-BE49-F238E27FC236}">
                <a16:creationId xmlns:a16="http://schemas.microsoft.com/office/drawing/2014/main" id="{1D703736-87C9-3235-7AD7-54809EF031B5}"/>
              </a:ext>
            </a:extLst>
          </p:cNvPr>
          <p:cNvSpPr txBox="1"/>
          <p:nvPr/>
        </p:nvSpPr>
        <p:spPr>
          <a:xfrm>
            <a:off x="8080739" y="2958259"/>
            <a:ext cx="1010386" cy="3997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1998" b="1" dirty="0">
                <a:solidFill>
                  <a:srgbClr val="78FAAE"/>
                </a:solidFill>
                <a:latin typeface="SKODA Next"/>
                <a:cs typeface="SKODA Next Black"/>
              </a:rPr>
              <a:t>0</a:t>
            </a:r>
            <a:r>
              <a:rPr lang="en-US" sz="1998" b="1" dirty="0">
                <a:solidFill>
                  <a:srgbClr val="78FAAE"/>
                </a:solidFill>
                <a:latin typeface="SKODA Next"/>
                <a:cs typeface="SKODA Next Black"/>
              </a:rPr>
              <a:t> </a:t>
            </a:r>
            <a:r>
              <a:rPr lang="en-US" sz="1399" dirty="0">
                <a:solidFill>
                  <a:srgbClr val="78FAAE"/>
                </a:solidFill>
                <a:latin typeface="SKODA Next"/>
                <a:cs typeface="SKODA Next Black"/>
              </a:rPr>
              <a:t>g/km</a:t>
            </a:r>
          </a:p>
        </p:txBody>
      </p:sp>
      <p:sp>
        <p:nvSpPr>
          <p:cNvPr id="15" name="Ovál 14">
            <a:extLst>
              <a:ext uri="{FF2B5EF4-FFF2-40B4-BE49-F238E27FC236}">
                <a16:creationId xmlns:a16="http://schemas.microsoft.com/office/drawing/2014/main" id="{DBDBC4B6-B8EC-9544-7411-5FE73FFAF9E0}"/>
              </a:ext>
            </a:extLst>
          </p:cNvPr>
          <p:cNvSpPr>
            <a:spLocks noChangeAspect="1"/>
          </p:cNvSpPr>
          <p:nvPr/>
        </p:nvSpPr>
        <p:spPr>
          <a:xfrm>
            <a:off x="5939280" y="2609306"/>
            <a:ext cx="719430" cy="719430"/>
          </a:xfrm>
          <a:prstGeom prst="ellipse">
            <a:avLst/>
          </a:prstGeom>
          <a:solidFill>
            <a:srgbClr val="78FAA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r"/>
            <a:r>
              <a:rPr lang="en-US" sz="1199" dirty="0">
                <a:solidFill>
                  <a:srgbClr val="0E3A2F"/>
                </a:solidFill>
                <a:latin typeface="SKODA Next" panose="020B0504020603020204" pitchFamily="34" charset="0"/>
                <a:cs typeface="SKODA Next Black"/>
              </a:rPr>
              <a:t>- </a:t>
            </a:r>
            <a:r>
              <a:rPr lang="cs-CZ" sz="1199" dirty="0">
                <a:solidFill>
                  <a:srgbClr val="0E3A2F"/>
                </a:solidFill>
                <a:latin typeface="SKODA Next" panose="020B0504020603020204" pitchFamily="34" charset="0"/>
                <a:cs typeface="SKODA Next Black"/>
              </a:rPr>
              <a:t>5</a:t>
            </a:r>
            <a:r>
              <a:rPr lang="en-US" sz="1199" dirty="0">
                <a:solidFill>
                  <a:srgbClr val="0E3A2F"/>
                </a:solidFill>
                <a:latin typeface="SKODA Next" panose="020B0504020603020204" pitchFamily="34" charset="0"/>
                <a:cs typeface="SKODA Next Black"/>
              </a:rPr>
              <a:t>5 %</a:t>
            </a:r>
            <a:endParaRPr lang="cs-CZ" sz="1199" dirty="0">
              <a:solidFill>
                <a:srgbClr val="0E3A2F"/>
              </a:solidFill>
              <a:latin typeface="SKODA Next" panose="020B0504020603020204" pitchFamily="34" charset="0"/>
            </a:endParaRPr>
          </a:p>
        </p:txBody>
      </p:sp>
      <p:sp>
        <p:nvSpPr>
          <p:cNvPr id="16" name="Ovál 15">
            <a:extLst>
              <a:ext uri="{FF2B5EF4-FFF2-40B4-BE49-F238E27FC236}">
                <a16:creationId xmlns:a16="http://schemas.microsoft.com/office/drawing/2014/main" id="{A3A7636E-51E4-742E-7D9B-E6D9A3FC0BF6}"/>
              </a:ext>
            </a:extLst>
          </p:cNvPr>
          <p:cNvSpPr>
            <a:spLocks noChangeAspect="1"/>
          </p:cNvSpPr>
          <p:nvPr/>
        </p:nvSpPr>
        <p:spPr>
          <a:xfrm>
            <a:off x="8167183" y="3361949"/>
            <a:ext cx="719430" cy="719430"/>
          </a:xfrm>
          <a:prstGeom prst="ellipse">
            <a:avLst/>
          </a:prstGeom>
          <a:solidFill>
            <a:srgbClr val="78FAA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r"/>
            <a:r>
              <a:rPr lang="en-US" sz="1199" dirty="0">
                <a:solidFill>
                  <a:srgbClr val="0E3A2F"/>
                </a:solidFill>
                <a:latin typeface="SKODA Next" panose="020B0504020603020204" pitchFamily="34" charset="0"/>
                <a:cs typeface="SKODA Next Black"/>
              </a:rPr>
              <a:t>- </a:t>
            </a:r>
            <a:r>
              <a:rPr lang="cs-CZ" sz="1199" dirty="0">
                <a:solidFill>
                  <a:srgbClr val="0E3A2F"/>
                </a:solidFill>
                <a:latin typeface="SKODA Next" panose="020B0504020603020204" pitchFamily="34" charset="0"/>
                <a:cs typeface="SKODA Next Black"/>
              </a:rPr>
              <a:t>100</a:t>
            </a:r>
            <a:r>
              <a:rPr lang="en-US" sz="1199" dirty="0">
                <a:solidFill>
                  <a:srgbClr val="0E3A2F"/>
                </a:solidFill>
                <a:latin typeface="SKODA Next" panose="020B0504020603020204" pitchFamily="34" charset="0"/>
                <a:cs typeface="SKODA Next Black"/>
              </a:rPr>
              <a:t> %</a:t>
            </a:r>
            <a:endParaRPr lang="cs-CZ" sz="1199" dirty="0">
              <a:solidFill>
                <a:srgbClr val="0E3A2F"/>
              </a:solidFill>
              <a:latin typeface="SKODA Next" panose="020B0504020603020204" pitchFamily="34" charset="0"/>
            </a:endParaRP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6C89C0A6-33EC-D708-4108-089403AC6A24}"/>
              </a:ext>
            </a:extLst>
          </p:cNvPr>
          <p:cNvSpPr/>
          <p:nvPr/>
        </p:nvSpPr>
        <p:spPr>
          <a:xfrm>
            <a:off x="8973057" y="3521767"/>
            <a:ext cx="1113351" cy="399793"/>
          </a:xfrm>
          <a:prstGeom prst="rect">
            <a:avLst/>
          </a:prstGeom>
          <a:solidFill>
            <a:srgbClr val="78FAA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cs-CZ" sz="1199" dirty="0">
                <a:solidFill>
                  <a:srgbClr val="0E3A2F"/>
                </a:solidFill>
                <a:latin typeface="SKODA Next" panose="020B0504020603020204" pitchFamily="34" charset="0"/>
              </a:rPr>
              <a:t>EU “Fit </a:t>
            </a:r>
            <a:r>
              <a:rPr lang="cs-CZ" sz="1199" dirty="0" err="1">
                <a:solidFill>
                  <a:srgbClr val="0E3A2F"/>
                </a:solidFill>
                <a:latin typeface="SKODA Next" panose="020B0504020603020204" pitchFamily="34" charset="0"/>
              </a:rPr>
              <a:t>for</a:t>
            </a:r>
            <a:r>
              <a:rPr lang="cs-CZ" sz="1199" dirty="0">
                <a:solidFill>
                  <a:srgbClr val="0E3A2F"/>
                </a:solidFill>
                <a:latin typeface="SKODA Next" panose="020B0504020603020204" pitchFamily="34" charset="0"/>
              </a:rPr>
              <a:t> 55”</a:t>
            </a:r>
          </a:p>
          <a:p>
            <a:pPr algn="ctr"/>
            <a:r>
              <a:rPr lang="cs-CZ" sz="1199" dirty="0">
                <a:solidFill>
                  <a:srgbClr val="0E3A2F"/>
                </a:solidFill>
                <a:latin typeface="SKODA Next" panose="020B0504020603020204" pitchFamily="34" charset="0"/>
              </a:rPr>
              <a:t>nová kritéria</a:t>
            </a:r>
          </a:p>
        </p:txBody>
      </p:sp>
      <p:cxnSp>
        <p:nvCxnSpPr>
          <p:cNvPr id="19" name="Přímá spojnice 18">
            <a:extLst>
              <a:ext uri="{FF2B5EF4-FFF2-40B4-BE49-F238E27FC236}">
                <a16:creationId xmlns:a16="http://schemas.microsoft.com/office/drawing/2014/main" id="{471EFED9-A620-D51A-8CFF-01528EC97177}"/>
              </a:ext>
            </a:extLst>
          </p:cNvPr>
          <p:cNvCxnSpPr/>
          <p:nvPr/>
        </p:nvCxnSpPr>
        <p:spPr>
          <a:xfrm>
            <a:off x="925709" y="4083327"/>
            <a:ext cx="8838419" cy="0"/>
          </a:xfrm>
          <a:prstGeom prst="line">
            <a:avLst/>
          </a:prstGeom>
          <a:ln w="9525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Přímá spojnice 19">
            <a:extLst>
              <a:ext uri="{FF2B5EF4-FFF2-40B4-BE49-F238E27FC236}">
                <a16:creationId xmlns:a16="http://schemas.microsoft.com/office/drawing/2014/main" id="{F6E1928B-8946-CDDD-C6FF-9C751CE50896}"/>
              </a:ext>
            </a:extLst>
          </p:cNvPr>
          <p:cNvCxnSpPr>
            <a:cxnSpLocks/>
          </p:cNvCxnSpPr>
          <p:nvPr/>
        </p:nvCxnSpPr>
        <p:spPr>
          <a:xfrm>
            <a:off x="1805200" y="1398691"/>
            <a:ext cx="0" cy="2684636"/>
          </a:xfrm>
          <a:prstGeom prst="line">
            <a:avLst/>
          </a:prstGeom>
          <a:ln w="9525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68FD0CE4-7FC7-B79F-770E-3A8B2726D7E4}"/>
              </a:ext>
            </a:extLst>
          </p:cNvPr>
          <p:cNvCxnSpPr>
            <a:cxnSpLocks/>
          </p:cNvCxnSpPr>
          <p:nvPr/>
        </p:nvCxnSpPr>
        <p:spPr>
          <a:xfrm>
            <a:off x="4058313" y="2381005"/>
            <a:ext cx="0" cy="1702322"/>
          </a:xfrm>
          <a:prstGeom prst="line">
            <a:avLst/>
          </a:prstGeom>
          <a:ln w="9525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Přímá spojnice 21">
            <a:extLst>
              <a:ext uri="{FF2B5EF4-FFF2-40B4-BE49-F238E27FC236}">
                <a16:creationId xmlns:a16="http://schemas.microsoft.com/office/drawing/2014/main" id="{4194409A-5F3E-0F85-9D91-B5ED3E72AC63}"/>
              </a:ext>
            </a:extLst>
          </p:cNvPr>
          <p:cNvCxnSpPr>
            <a:cxnSpLocks/>
          </p:cNvCxnSpPr>
          <p:nvPr/>
        </p:nvCxnSpPr>
        <p:spPr>
          <a:xfrm flipH="1">
            <a:off x="6298995" y="3328737"/>
            <a:ext cx="1" cy="754590"/>
          </a:xfrm>
          <a:prstGeom prst="line">
            <a:avLst/>
          </a:prstGeom>
          <a:ln w="9525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Přímá spojnice 22">
            <a:extLst>
              <a:ext uri="{FF2B5EF4-FFF2-40B4-BE49-F238E27FC236}">
                <a16:creationId xmlns:a16="http://schemas.microsoft.com/office/drawing/2014/main" id="{99DBA3E7-D62C-93D3-B5AA-7B24F0499F77}"/>
              </a:ext>
            </a:extLst>
          </p:cNvPr>
          <p:cNvCxnSpPr>
            <a:cxnSpLocks/>
            <a:stCxn id="10" idx="0"/>
          </p:cNvCxnSpPr>
          <p:nvPr/>
        </p:nvCxnSpPr>
        <p:spPr>
          <a:xfrm>
            <a:off x="8539677" y="4083327"/>
            <a:ext cx="5866" cy="0"/>
          </a:xfrm>
          <a:prstGeom prst="line">
            <a:avLst/>
          </a:prstGeom>
          <a:ln w="9525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Ovál 23">
            <a:extLst>
              <a:ext uri="{FF2B5EF4-FFF2-40B4-BE49-F238E27FC236}">
                <a16:creationId xmlns:a16="http://schemas.microsoft.com/office/drawing/2014/main" id="{88E70423-9E2E-EFC8-482C-5A4407668163}"/>
              </a:ext>
            </a:extLst>
          </p:cNvPr>
          <p:cNvSpPr/>
          <p:nvPr/>
        </p:nvSpPr>
        <p:spPr>
          <a:xfrm>
            <a:off x="3704917" y="1751689"/>
            <a:ext cx="719430" cy="719430"/>
          </a:xfrm>
          <a:prstGeom prst="ellipse">
            <a:avLst/>
          </a:prstGeom>
          <a:solidFill>
            <a:srgbClr val="78FAA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/>
            <a:r>
              <a:rPr lang="en-US" sz="1199" dirty="0">
                <a:solidFill>
                  <a:srgbClr val="0E3A2F"/>
                </a:solidFill>
                <a:latin typeface="SKODA Next" panose="020B0504020603020204" pitchFamily="34" charset="0"/>
                <a:cs typeface="SKODA Next Black"/>
              </a:rPr>
              <a:t>- </a:t>
            </a:r>
            <a:r>
              <a:rPr lang="cs-CZ" sz="1199" dirty="0">
                <a:solidFill>
                  <a:srgbClr val="0E3A2F"/>
                </a:solidFill>
                <a:latin typeface="SKODA Next" panose="020B0504020603020204" pitchFamily="34" charset="0"/>
                <a:cs typeface="SKODA Next Black"/>
              </a:rPr>
              <a:t>15</a:t>
            </a:r>
            <a:r>
              <a:rPr lang="en-US" sz="1199" dirty="0">
                <a:solidFill>
                  <a:srgbClr val="0E3A2F"/>
                </a:solidFill>
                <a:latin typeface="SKODA Next" panose="020B0504020603020204" pitchFamily="34" charset="0"/>
                <a:cs typeface="SKODA Next Black"/>
              </a:rPr>
              <a:t> %</a:t>
            </a:r>
            <a:endParaRPr lang="cs-CZ" sz="1199" dirty="0">
              <a:solidFill>
                <a:srgbClr val="0E3A2F"/>
              </a:solidFill>
              <a:latin typeface="SKODA Next" panose="020B0504020603020204" pitchFamily="34" charset="0"/>
            </a:endParaRPr>
          </a:p>
        </p:txBody>
      </p:sp>
      <p:pic>
        <p:nvPicPr>
          <p:cNvPr id="25" name="Obrázek 24">
            <a:extLst>
              <a:ext uri="{FF2B5EF4-FFF2-40B4-BE49-F238E27FC236}">
                <a16:creationId xmlns:a16="http://schemas.microsoft.com/office/drawing/2014/main" id="{501CFEA2-F02C-A21D-172A-33C614D203C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93006" y="4983735"/>
            <a:ext cx="101520" cy="164969"/>
          </a:xfrm>
          <a:prstGeom prst="rect">
            <a:avLst/>
          </a:prstGeom>
        </p:spPr>
      </p:pic>
      <p:pic>
        <p:nvPicPr>
          <p:cNvPr id="26" name="Obrázek 25">
            <a:extLst>
              <a:ext uri="{FF2B5EF4-FFF2-40B4-BE49-F238E27FC236}">
                <a16:creationId xmlns:a16="http://schemas.microsoft.com/office/drawing/2014/main" id="{C638864F-77B2-E3DE-61A3-3185B59084D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83321" y="4678964"/>
            <a:ext cx="319787" cy="239840"/>
          </a:xfrm>
          <a:prstGeom prst="rect">
            <a:avLst/>
          </a:prstGeom>
        </p:spPr>
      </p:pic>
      <p:grpSp>
        <p:nvGrpSpPr>
          <p:cNvPr id="27" name="Skupina 26">
            <a:extLst>
              <a:ext uri="{FF2B5EF4-FFF2-40B4-BE49-F238E27FC236}">
                <a16:creationId xmlns:a16="http://schemas.microsoft.com/office/drawing/2014/main" id="{D5E37FB8-7D74-5820-A813-BEEB0C504A34}"/>
              </a:ext>
            </a:extLst>
          </p:cNvPr>
          <p:cNvGrpSpPr/>
          <p:nvPr/>
        </p:nvGrpSpPr>
        <p:grpSpPr>
          <a:xfrm>
            <a:off x="5605130" y="4648428"/>
            <a:ext cx="1450618" cy="865940"/>
            <a:chOff x="5603748" y="4624610"/>
            <a:chExt cx="1451767" cy="866626"/>
          </a:xfrm>
        </p:grpSpPr>
        <p:pic>
          <p:nvPicPr>
            <p:cNvPr id="28" name="Obrázek 27">
              <a:extLst>
                <a:ext uri="{FF2B5EF4-FFF2-40B4-BE49-F238E27FC236}">
                  <a16:creationId xmlns:a16="http://schemas.microsoft.com/office/drawing/2014/main" id="{71F86CA2-4C2E-285B-9B1F-124D984E347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603748" y="4624610"/>
              <a:ext cx="320040" cy="240030"/>
            </a:xfrm>
            <a:prstGeom prst="rect">
              <a:avLst/>
            </a:prstGeom>
          </p:spPr>
        </p:pic>
        <p:pic>
          <p:nvPicPr>
            <p:cNvPr id="29" name="Obrázek 28">
              <a:extLst>
                <a:ext uri="{FF2B5EF4-FFF2-40B4-BE49-F238E27FC236}">
                  <a16:creationId xmlns:a16="http://schemas.microsoft.com/office/drawing/2014/main" id="{071DD17C-5A79-93EB-3561-5063B6EB9FC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978123" y="4624610"/>
              <a:ext cx="320040" cy="240030"/>
            </a:xfrm>
            <a:prstGeom prst="rect">
              <a:avLst/>
            </a:prstGeom>
          </p:spPr>
        </p:pic>
        <p:pic>
          <p:nvPicPr>
            <p:cNvPr id="30" name="Obrázek 29">
              <a:extLst>
                <a:ext uri="{FF2B5EF4-FFF2-40B4-BE49-F238E27FC236}">
                  <a16:creationId xmlns:a16="http://schemas.microsoft.com/office/drawing/2014/main" id="{3D1C49AC-7C75-8E87-92A7-1937CAF906F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6359070" y="4624610"/>
              <a:ext cx="320040" cy="240030"/>
            </a:xfrm>
            <a:prstGeom prst="rect">
              <a:avLst/>
            </a:prstGeom>
          </p:spPr>
        </p:pic>
        <p:pic>
          <p:nvPicPr>
            <p:cNvPr id="31" name="Obrázek 30">
              <a:extLst>
                <a:ext uri="{FF2B5EF4-FFF2-40B4-BE49-F238E27FC236}">
                  <a16:creationId xmlns:a16="http://schemas.microsoft.com/office/drawing/2014/main" id="{9E9A8FA9-EDA0-89A9-C5DE-E0A554CE9DC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6733421" y="4624610"/>
              <a:ext cx="320040" cy="240030"/>
            </a:xfrm>
            <a:prstGeom prst="rect">
              <a:avLst/>
            </a:prstGeom>
          </p:spPr>
        </p:pic>
        <p:pic>
          <p:nvPicPr>
            <p:cNvPr id="32" name="Obrázek 31">
              <a:extLst>
                <a:ext uri="{FF2B5EF4-FFF2-40B4-BE49-F238E27FC236}">
                  <a16:creationId xmlns:a16="http://schemas.microsoft.com/office/drawing/2014/main" id="{FC5C4143-EB4B-898D-CB0F-B7BF3F7FA24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5603748" y="4937908"/>
              <a:ext cx="320040" cy="240030"/>
            </a:xfrm>
            <a:prstGeom prst="rect">
              <a:avLst/>
            </a:prstGeom>
          </p:spPr>
        </p:pic>
        <p:pic>
          <p:nvPicPr>
            <p:cNvPr id="33" name="Obrázek 32">
              <a:extLst>
                <a:ext uri="{FF2B5EF4-FFF2-40B4-BE49-F238E27FC236}">
                  <a16:creationId xmlns:a16="http://schemas.microsoft.com/office/drawing/2014/main" id="{DB23904C-62CB-4B64-134A-F0D1017F2D5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5978123" y="4937908"/>
              <a:ext cx="320040" cy="240030"/>
            </a:xfrm>
            <a:prstGeom prst="rect">
              <a:avLst/>
            </a:prstGeom>
          </p:spPr>
        </p:pic>
        <p:pic>
          <p:nvPicPr>
            <p:cNvPr id="34" name="Obrázek 33">
              <a:extLst>
                <a:ext uri="{FF2B5EF4-FFF2-40B4-BE49-F238E27FC236}">
                  <a16:creationId xmlns:a16="http://schemas.microsoft.com/office/drawing/2014/main" id="{CF500412-2719-391A-1222-7A73419EA550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6359070" y="4937908"/>
              <a:ext cx="320040" cy="240030"/>
            </a:xfrm>
            <a:prstGeom prst="rect">
              <a:avLst/>
            </a:prstGeom>
          </p:spPr>
        </p:pic>
        <p:pic>
          <p:nvPicPr>
            <p:cNvPr id="35" name="Obrázek 34">
              <a:extLst>
                <a:ext uri="{FF2B5EF4-FFF2-40B4-BE49-F238E27FC236}">
                  <a16:creationId xmlns:a16="http://schemas.microsoft.com/office/drawing/2014/main" id="{9BD711B4-071F-C9B2-E015-D88A1D9570F9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6735475" y="4928442"/>
              <a:ext cx="320040" cy="240030"/>
            </a:xfrm>
            <a:prstGeom prst="rect">
              <a:avLst/>
            </a:prstGeom>
          </p:spPr>
        </p:pic>
        <p:pic>
          <p:nvPicPr>
            <p:cNvPr id="36" name="Obrázek 35">
              <a:extLst>
                <a:ext uri="{FF2B5EF4-FFF2-40B4-BE49-F238E27FC236}">
                  <a16:creationId xmlns:a16="http://schemas.microsoft.com/office/drawing/2014/main" id="{08480D60-6731-1C76-3AEA-48279D86D435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6199050" y="5251206"/>
              <a:ext cx="320040" cy="240030"/>
            </a:xfrm>
            <a:prstGeom prst="rect">
              <a:avLst/>
            </a:prstGeom>
          </p:spPr>
        </p:pic>
      </p:grpSp>
      <p:pic>
        <p:nvPicPr>
          <p:cNvPr id="37" name="Obrázek 36">
            <a:extLst>
              <a:ext uri="{FF2B5EF4-FFF2-40B4-BE49-F238E27FC236}">
                <a16:creationId xmlns:a16="http://schemas.microsoft.com/office/drawing/2014/main" id="{EF34E7C9-483D-B551-B068-E19B8074891A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379783" y="4677848"/>
            <a:ext cx="319787" cy="239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386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Obrázek 6" descr="Obsah obrázku text, snímek obrazovky, hygienická vložka&#10;&#10;Popis byl vytvořen automaticky">
            <a:extLst>
              <a:ext uri="{FF2B5EF4-FFF2-40B4-BE49-F238E27FC236}">
                <a16:creationId xmlns:a16="http://schemas.microsoft.com/office/drawing/2014/main" id="{5F326131-6404-A0A5-BFD9-8DF788193E8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" r="-2" b="-2"/>
          <a:stretch/>
        </p:blipFill>
        <p:spPr>
          <a:xfrm>
            <a:off x="20" y="10"/>
            <a:ext cx="10691793" cy="6011853"/>
          </a:xfrm>
          <a:prstGeom prst="rect">
            <a:avLst/>
          </a:prstGeom>
          <a:noFill/>
        </p:spPr>
      </p:pic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7254FC38-2213-6B67-0C05-068C5E6CD6A0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846000" y="5598000"/>
            <a:ext cx="7740788" cy="180000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noProof="0"/>
              <a:t>S15 | 08.06.2023 | Future city tech | VTO | Miroslav Holan</a:t>
            </a:r>
            <a:endParaRPr lang="cs-CZ" noProof="0"/>
          </a:p>
        </p:txBody>
      </p:sp>
      <p:sp>
        <p:nvSpPr>
          <p:cNvPr id="5" name="Zástupný symbol pro číslo snímku 4" hidden="1">
            <a:extLst>
              <a:ext uri="{FF2B5EF4-FFF2-40B4-BE49-F238E27FC236}">
                <a16:creationId xmlns:a16="http://schemas.microsoft.com/office/drawing/2014/main" id="{74FDF7B0-70C2-F9C2-D58E-28DBDA365252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449263" y="5598000"/>
            <a:ext cx="269960" cy="180000"/>
          </a:xfrm>
        </p:spPr>
        <p:txBody>
          <a:bodyPr/>
          <a:lstStyle/>
          <a:p>
            <a:pPr>
              <a:spcAft>
                <a:spcPts val="600"/>
              </a:spcAft>
            </a:pPr>
            <a:fld id="{1E956721-BB38-4972-8ACD-5A2C9377E3B4}" type="slidenum">
              <a:rPr lang="cs-CZ" noProof="0" smtClean="0"/>
              <a:pPr>
                <a:spcAft>
                  <a:spcPts val="600"/>
                </a:spcAft>
              </a:pPr>
              <a:t>3</a:t>
            </a:fld>
            <a:endParaRPr lang="cs-CZ" noProof="0"/>
          </a:p>
        </p:txBody>
      </p:sp>
    </p:spTree>
    <p:extLst>
      <p:ext uri="{BB962C8B-B14F-4D97-AF65-F5344CB8AC3E}">
        <p14:creationId xmlns:p14="http://schemas.microsoft.com/office/powerpoint/2010/main" val="245378044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ek 2" descr="Obsah obrázku text, snímek obrazovky, menu, design&#10;&#10;Popis byl vytvořen automaticky">
            <a:extLst>
              <a:ext uri="{FF2B5EF4-FFF2-40B4-BE49-F238E27FC236}">
                <a16:creationId xmlns:a16="http://schemas.microsoft.com/office/drawing/2014/main" id="{869935D0-1DEA-9468-1E35-ACA6C0451D3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2" b="36"/>
          <a:stretch/>
        </p:blipFill>
        <p:spPr>
          <a:xfrm>
            <a:off x="20" y="10"/>
            <a:ext cx="10691793" cy="6011853"/>
          </a:xfrm>
          <a:prstGeom prst="rect">
            <a:avLst/>
          </a:prstGeom>
          <a:noFill/>
        </p:spPr>
      </p:pic>
      <p:sp>
        <p:nvSpPr>
          <p:cNvPr id="5" name="Zástupný symbol pro číslo snímku 4" hidden="1">
            <a:extLst>
              <a:ext uri="{FF2B5EF4-FFF2-40B4-BE49-F238E27FC236}">
                <a16:creationId xmlns:a16="http://schemas.microsoft.com/office/drawing/2014/main" id="{74FDF7B0-70C2-F9C2-D58E-28DBDA365252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449263" y="5598000"/>
            <a:ext cx="269960" cy="180000"/>
          </a:xfrm>
        </p:spPr>
        <p:txBody>
          <a:bodyPr/>
          <a:lstStyle/>
          <a:p>
            <a:pPr>
              <a:spcAft>
                <a:spcPts val="600"/>
              </a:spcAft>
            </a:pPr>
            <a:fld id="{1E956721-BB38-4972-8ACD-5A2C9377E3B4}" type="slidenum">
              <a:rPr lang="cs-CZ" noProof="0" smtClean="0"/>
              <a:pPr>
                <a:spcAft>
                  <a:spcPts val="600"/>
                </a:spcAft>
              </a:pPr>
              <a:t>4</a:t>
            </a:fld>
            <a:endParaRPr lang="cs-CZ" noProof="0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7254FC38-2213-6B67-0C05-068C5E6CD6A0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1984517" y="5580071"/>
            <a:ext cx="7740788" cy="180000"/>
          </a:xfrm>
        </p:spPr>
        <p:txBody>
          <a:bodyPr/>
          <a:lstStyle/>
          <a:p>
            <a:pPr algn="r">
              <a:spcAft>
                <a:spcPts val="600"/>
              </a:spcAft>
            </a:pPr>
            <a:r>
              <a:rPr lang="en-US" noProof="0"/>
              <a:t>S15 | 08.06.2023 | Future city tech | VTO | Miroslav Holan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364984108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Obrázek 25">
            <a:extLst>
              <a:ext uri="{FF2B5EF4-FFF2-40B4-BE49-F238E27FC236}">
                <a16:creationId xmlns:a16="http://schemas.microsoft.com/office/drawing/2014/main" id="{FD0E73AD-2C15-CC01-2BB3-CC520EF3028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028" y="-1"/>
            <a:ext cx="10687756" cy="6011863"/>
          </a:xfrm>
          <a:prstGeom prst="rect">
            <a:avLst/>
          </a:prstGeom>
        </p:spPr>
      </p:pic>
      <p:sp>
        <p:nvSpPr>
          <p:cNvPr id="27" name="Obdélník 26">
            <a:extLst>
              <a:ext uri="{FF2B5EF4-FFF2-40B4-BE49-F238E27FC236}">
                <a16:creationId xmlns:a16="http://schemas.microsoft.com/office/drawing/2014/main" id="{66762AED-8564-BB5B-E9DB-A1F0762400FB}"/>
              </a:ext>
            </a:extLst>
          </p:cNvPr>
          <p:cNvSpPr/>
          <p:nvPr/>
        </p:nvSpPr>
        <p:spPr bwMode="auto">
          <a:xfrm>
            <a:off x="-23246" y="-55510"/>
            <a:ext cx="10752748" cy="6130649"/>
          </a:xfrm>
          <a:prstGeom prst="rect">
            <a:avLst/>
          </a:prstGeom>
          <a:solidFill>
            <a:schemeClr val="tx1">
              <a:alpha val="78000"/>
            </a:schemeClr>
          </a:solidFill>
          <a:ln>
            <a:noFill/>
          </a:ln>
        </p:spPr>
        <p:txBody>
          <a:bodyPr vert="horz" wrap="square" lIns="80158" tIns="40079" rIns="80158" bIns="40079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cs-CZ" sz="1841" dirty="0"/>
          </a:p>
        </p:txBody>
      </p:sp>
      <p:pic>
        <p:nvPicPr>
          <p:cNvPr id="3" name="Obrázek 2" hidden="1">
            <a:extLst>
              <a:ext uri="{FF2B5EF4-FFF2-40B4-BE49-F238E27FC236}">
                <a16:creationId xmlns:a16="http://schemas.microsoft.com/office/drawing/2014/main" id="{23C755C2-6867-321C-442D-C156C2F8242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2125315" y="-4296138"/>
            <a:ext cx="6813444" cy="3849094"/>
          </a:xfrm>
          <a:prstGeom prst="rect">
            <a:avLst/>
          </a:prstGeom>
        </p:spPr>
      </p:pic>
      <p:pic>
        <p:nvPicPr>
          <p:cNvPr id="11" name="Obrázek 10">
            <a:extLst>
              <a:ext uri="{FF2B5EF4-FFF2-40B4-BE49-F238E27FC236}">
                <a16:creationId xmlns:a16="http://schemas.microsoft.com/office/drawing/2014/main" id="{D3961D7D-C7BD-ABEE-80E6-2B76D81C04D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0601" y="4888279"/>
            <a:ext cx="870609" cy="552020"/>
          </a:xfrm>
          <a:prstGeom prst="rect">
            <a:avLst/>
          </a:prstGeom>
        </p:spPr>
      </p:pic>
      <p:grpSp>
        <p:nvGrpSpPr>
          <p:cNvPr id="29" name="Skupina 28" hidden="1">
            <a:extLst>
              <a:ext uri="{FF2B5EF4-FFF2-40B4-BE49-F238E27FC236}">
                <a16:creationId xmlns:a16="http://schemas.microsoft.com/office/drawing/2014/main" id="{94328659-95C4-A361-80AA-547999793C17}"/>
              </a:ext>
            </a:extLst>
          </p:cNvPr>
          <p:cNvGrpSpPr/>
          <p:nvPr/>
        </p:nvGrpSpPr>
        <p:grpSpPr>
          <a:xfrm>
            <a:off x="2947062" y="-3887712"/>
            <a:ext cx="5986146" cy="3596399"/>
            <a:chOff x="3359531" y="-4434887"/>
            <a:chExt cx="6828664" cy="4102573"/>
          </a:xfrm>
        </p:grpSpPr>
        <p:pic>
          <p:nvPicPr>
            <p:cNvPr id="13" name="Obrázek 12">
              <a:extLst>
                <a:ext uri="{FF2B5EF4-FFF2-40B4-BE49-F238E27FC236}">
                  <a16:creationId xmlns:a16="http://schemas.microsoft.com/office/drawing/2014/main" id="{1ECB4262-597C-F263-3579-B9F34069954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59531" y="-4434887"/>
              <a:ext cx="5443018" cy="4102573"/>
            </a:xfrm>
            <a:prstGeom prst="rect">
              <a:avLst/>
            </a:prstGeom>
          </p:spPr>
        </p:pic>
        <p:cxnSp>
          <p:nvCxnSpPr>
            <p:cNvPr id="14" name="Přímá spojnice 13">
              <a:extLst>
                <a:ext uri="{FF2B5EF4-FFF2-40B4-BE49-F238E27FC236}">
                  <a16:creationId xmlns:a16="http://schemas.microsoft.com/office/drawing/2014/main" id="{D7AA1767-5907-B32D-1D94-7016903EA91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832470" y="-1867098"/>
              <a:ext cx="1355725" cy="0"/>
            </a:xfrm>
            <a:prstGeom prst="line">
              <a:avLst/>
            </a:prstGeom>
            <a:ln>
              <a:solidFill>
                <a:srgbClr val="78FAA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TextovéPole 5">
            <a:extLst>
              <a:ext uri="{FF2B5EF4-FFF2-40B4-BE49-F238E27FC236}">
                <a16:creationId xmlns:a16="http://schemas.microsoft.com/office/drawing/2014/main" id="{9A9BA9E5-B339-7C30-03AE-BEFCB1077D34}"/>
              </a:ext>
            </a:extLst>
          </p:cNvPr>
          <p:cNvSpPr txBox="1"/>
          <p:nvPr/>
        </p:nvSpPr>
        <p:spPr>
          <a:xfrm>
            <a:off x="926960" y="1271722"/>
            <a:ext cx="2298401" cy="470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454" b="1" dirty="0">
                <a:solidFill>
                  <a:schemeClr val="bg1"/>
                </a:solidFill>
              </a:rPr>
              <a:t>Retail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E48D57BF-C670-D4B7-4359-B213FF8C498A}"/>
              </a:ext>
            </a:extLst>
          </p:cNvPr>
          <p:cNvSpPr txBox="1"/>
          <p:nvPr/>
        </p:nvSpPr>
        <p:spPr>
          <a:xfrm>
            <a:off x="926959" y="3784200"/>
            <a:ext cx="2677113" cy="5509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753" b="1" dirty="0">
                <a:solidFill>
                  <a:srgbClr val="78FAAE"/>
                </a:solidFill>
              </a:rPr>
              <a:t>Aplikace</a:t>
            </a:r>
            <a:endParaRPr lang="cs-CZ" sz="1403" b="1" dirty="0">
              <a:solidFill>
                <a:srgbClr val="78FAAE"/>
              </a:solidFill>
            </a:endParaRPr>
          </a:p>
          <a:p>
            <a:r>
              <a:rPr lang="cs-CZ" sz="1227" dirty="0">
                <a:solidFill>
                  <a:schemeClr val="bg1"/>
                </a:solidFill>
              </a:rPr>
              <a:t>Mobilní aplikace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F23938B7-19B9-14F0-24E4-01F33CEF7596}"/>
              </a:ext>
            </a:extLst>
          </p:cNvPr>
          <p:cNvSpPr txBox="1"/>
          <p:nvPr/>
        </p:nvSpPr>
        <p:spPr>
          <a:xfrm>
            <a:off x="926959" y="1898922"/>
            <a:ext cx="1865385" cy="5509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753" b="1" dirty="0" err="1">
                <a:solidFill>
                  <a:srgbClr val="78FAAE"/>
                </a:solidFill>
              </a:rPr>
              <a:t>Powerpass</a:t>
            </a:r>
            <a:endParaRPr lang="cs-CZ" sz="1227" b="1" dirty="0">
              <a:solidFill>
                <a:srgbClr val="78FAAE"/>
              </a:solidFill>
            </a:endParaRPr>
          </a:p>
          <a:p>
            <a:r>
              <a:rPr lang="cs-CZ" sz="1227" dirty="0">
                <a:solidFill>
                  <a:schemeClr val="bg1"/>
                </a:solidFill>
              </a:rPr>
              <a:t>Pro retailové zákazníky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1E18AAF0-C497-E73F-D5AF-80FCBED44394}"/>
              </a:ext>
            </a:extLst>
          </p:cNvPr>
          <p:cNvSpPr txBox="1"/>
          <p:nvPr/>
        </p:nvSpPr>
        <p:spPr>
          <a:xfrm>
            <a:off x="926959" y="2841561"/>
            <a:ext cx="3323452" cy="5509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753" b="1" dirty="0">
                <a:solidFill>
                  <a:srgbClr val="78FAAE"/>
                </a:solidFill>
              </a:rPr>
              <a:t>400.000</a:t>
            </a:r>
          </a:p>
          <a:p>
            <a:r>
              <a:rPr lang="cs-CZ" sz="1227" dirty="0">
                <a:solidFill>
                  <a:schemeClr val="bg1"/>
                </a:solidFill>
              </a:rPr>
              <a:t>Přes 400 000 nabíjecích bodů v Evropě</a:t>
            </a: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314FDCD7-5EBB-6764-6644-3057E012EF78}"/>
              </a:ext>
            </a:extLst>
          </p:cNvPr>
          <p:cNvSpPr txBox="1"/>
          <p:nvPr/>
        </p:nvSpPr>
        <p:spPr>
          <a:xfrm>
            <a:off x="7167246" y="4670088"/>
            <a:ext cx="2597606" cy="7397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cs-CZ" sz="1753" b="1" dirty="0">
                <a:solidFill>
                  <a:srgbClr val="78FAAE"/>
                </a:solidFill>
              </a:rPr>
              <a:t>Individuální</a:t>
            </a:r>
            <a:endParaRPr lang="cs-CZ" sz="1227" b="1" dirty="0">
              <a:solidFill>
                <a:srgbClr val="78FAAE"/>
              </a:solidFill>
            </a:endParaRPr>
          </a:p>
          <a:p>
            <a:pPr algn="r"/>
            <a:r>
              <a:rPr lang="cs-CZ" sz="1227" dirty="0">
                <a:solidFill>
                  <a:schemeClr val="bg1"/>
                </a:solidFill>
              </a:rPr>
              <a:t>Klienti: </a:t>
            </a:r>
            <a:r>
              <a:rPr lang="cs-CZ" sz="1227" dirty="0" err="1">
                <a:solidFill>
                  <a:schemeClr val="bg1"/>
                </a:solidFill>
              </a:rPr>
              <a:t>Dekra</a:t>
            </a:r>
            <a:r>
              <a:rPr lang="cs-CZ" sz="1227" dirty="0">
                <a:solidFill>
                  <a:schemeClr val="bg1"/>
                </a:solidFill>
              </a:rPr>
              <a:t>, PRAKAB, VWFS, Porsche ČR, MPO atd.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6A0ABB45-BFFC-557A-6B2B-AEA35C0616FB}"/>
              </a:ext>
            </a:extLst>
          </p:cNvPr>
          <p:cNvSpPr txBox="1"/>
          <p:nvPr/>
        </p:nvSpPr>
        <p:spPr>
          <a:xfrm>
            <a:off x="7167247" y="1271722"/>
            <a:ext cx="2591536" cy="470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cs-CZ" sz="2454" b="1" dirty="0" err="1">
                <a:solidFill>
                  <a:schemeClr val="bg1"/>
                </a:solidFill>
              </a:rPr>
              <a:t>Fleet</a:t>
            </a:r>
            <a:endParaRPr lang="cs-CZ" sz="2454" b="1" dirty="0">
              <a:solidFill>
                <a:schemeClr val="bg1"/>
              </a:solidFill>
            </a:endParaRP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57E830BD-0DBB-22A4-8EFA-7F42D65A46EB}"/>
              </a:ext>
            </a:extLst>
          </p:cNvPr>
          <p:cNvSpPr txBox="1"/>
          <p:nvPr/>
        </p:nvSpPr>
        <p:spPr>
          <a:xfrm>
            <a:off x="6982891" y="3784200"/>
            <a:ext cx="2781962" cy="64752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algn="r"/>
            <a:r>
              <a:rPr lang="cs-CZ" sz="1753" b="1" dirty="0">
                <a:solidFill>
                  <a:srgbClr val="78FAAE"/>
                </a:solidFill>
              </a:rPr>
              <a:t>Komplexní řešení</a:t>
            </a:r>
          </a:p>
          <a:p>
            <a:pPr algn="r"/>
            <a:r>
              <a:rPr lang="cs-CZ" sz="1227" dirty="0">
                <a:solidFill>
                  <a:schemeClr val="bg1"/>
                </a:solidFill>
              </a:rPr>
              <a:t>Fakturace firemního, domácího</a:t>
            </a:r>
          </a:p>
          <a:p>
            <a:pPr algn="r"/>
            <a:r>
              <a:rPr lang="cs-CZ" sz="1227" dirty="0">
                <a:solidFill>
                  <a:schemeClr val="bg1"/>
                </a:solidFill>
              </a:rPr>
              <a:t>a veřejného nabíjení.</a:t>
            </a:r>
          </a:p>
          <a:p>
            <a:pPr algn="r"/>
            <a:endParaRPr lang="cs-CZ" sz="1227" dirty="0">
              <a:solidFill>
                <a:schemeClr val="bg1"/>
              </a:solidFill>
            </a:endParaRPr>
          </a:p>
        </p:txBody>
      </p: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4DEA952D-9814-BC14-B13E-75AFFA1C36EA}"/>
              </a:ext>
            </a:extLst>
          </p:cNvPr>
          <p:cNvSpPr txBox="1"/>
          <p:nvPr/>
        </p:nvSpPr>
        <p:spPr>
          <a:xfrm>
            <a:off x="5958285" y="2841561"/>
            <a:ext cx="3806568" cy="728362"/>
          </a:xfrm>
          <a:prstGeom prst="rect">
            <a:avLst/>
          </a:prstGeom>
          <a:noFill/>
        </p:spPr>
        <p:txBody>
          <a:bodyPr wrap="square" lIns="80158" tIns="40079" rIns="80158" bIns="40079" rtlCol="0" anchor="t">
            <a:spAutoFit/>
          </a:bodyPr>
          <a:lstStyle/>
          <a:p>
            <a:pPr algn="r"/>
            <a:r>
              <a:rPr lang="cs-CZ" sz="1753" b="1" dirty="0" err="1">
                <a:solidFill>
                  <a:srgbClr val="78FAAE"/>
                </a:solidFill>
              </a:rPr>
              <a:t>Ionity</a:t>
            </a:r>
            <a:endParaRPr lang="cs-CZ" sz="1227" b="1" dirty="0">
              <a:solidFill>
                <a:srgbClr val="78FAAE"/>
              </a:solidFill>
            </a:endParaRPr>
          </a:p>
          <a:p>
            <a:pPr algn="r"/>
            <a:r>
              <a:rPr lang="cs-CZ" sz="1227" dirty="0">
                <a:solidFill>
                  <a:schemeClr val="bg1"/>
                </a:solidFill>
              </a:rPr>
              <a:t>Nově integrovaná síť IONITY</a:t>
            </a:r>
          </a:p>
          <a:p>
            <a:pPr algn="r"/>
            <a:r>
              <a:rPr lang="cs-CZ" sz="1227" dirty="0">
                <a:solidFill>
                  <a:schemeClr val="bg1"/>
                </a:solidFill>
              </a:rPr>
              <a:t>a plánované další rozšíření v Evropě</a:t>
            </a: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188313B2-611E-1732-4D87-91E1B159057E}"/>
              </a:ext>
            </a:extLst>
          </p:cNvPr>
          <p:cNvSpPr txBox="1"/>
          <p:nvPr/>
        </p:nvSpPr>
        <p:spPr>
          <a:xfrm>
            <a:off x="6861133" y="1898922"/>
            <a:ext cx="2903721" cy="539528"/>
          </a:xfrm>
          <a:prstGeom prst="rect">
            <a:avLst/>
          </a:prstGeom>
          <a:noFill/>
        </p:spPr>
        <p:txBody>
          <a:bodyPr wrap="square" lIns="80158" tIns="40079" rIns="80158" bIns="40079" rtlCol="0" anchor="t">
            <a:spAutoFit/>
          </a:bodyPr>
          <a:lstStyle/>
          <a:p>
            <a:pPr algn="r"/>
            <a:r>
              <a:rPr lang="cs-CZ" sz="1753" b="1" dirty="0" err="1">
                <a:solidFill>
                  <a:srgbClr val="78FAAE"/>
                </a:solidFill>
              </a:rPr>
              <a:t>Chargee</a:t>
            </a:r>
            <a:endParaRPr lang="cs-CZ" sz="1227" b="1" dirty="0">
              <a:solidFill>
                <a:srgbClr val="78FAAE"/>
              </a:solidFill>
            </a:endParaRPr>
          </a:p>
          <a:p>
            <a:pPr algn="r"/>
            <a:r>
              <a:rPr lang="cs-CZ" sz="1227" dirty="0">
                <a:solidFill>
                  <a:schemeClr val="bg1"/>
                </a:solidFill>
              </a:rPr>
              <a:t>Pro </a:t>
            </a:r>
            <a:r>
              <a:rPr lang="cs-CZ" sz="1227" dirty="0" err="1">
                <a:solidFill>
                  <a:schemeClr val="bg1"/>
                </a:solidFill>
              </a:rPr>
              <a:t>fleetové</a:t>
            </a:r>
            <a:r>
              <a:rPr lang="cs-CZ" sz="1227" dirty="0">
                <a:solidFill>
                  <a:schemeClr val="bg1"/>
                </a:solidFill>
              </a:rPr>
              <a:t> zákazníky</a:t>
            </a:r>
          </a:p>
        </p:txBody>
      </p:sp>
      <p:sp>
        <p:nvSpPr>
          <p:cNvPr id="25" name="TextovéPole 15">
            <a:extLst>
              <a:ext uri="{FF2B5EF4-FFF2-40B4-BE49-F238E27FC236}">
                <a16:creationId xmlns:a16="http://schemas.microsoft.com/office/drawing/2014/main" id="{7764D8A4-6F66-9C49-BA8F-4C191B9A232D}"/>
              </a:ext>
            </a:extLst>
          </p:cNvPr>
          <p:cNvSpPr txBox="1"/>
          <p:nvPr/>
        </p:nvSpPr>
        <p:spPr>
          <a:xfrm>
            <a:off x="926959" y="4652119"/>
            <a:ext cx="3323452" cy="5509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753" b="1" dirty="0">
                <a:solidFill>
                  <a:srgbClr val="78FAAE"/>
                </a:solidFill>
              </a:rPr>
              <a:t>Jednotná</a:t>
            </a:r>
            <a:endParaRPr lang="cs-CZ" sz="1403" b="1" dirty="0">
              <a:solidFill>
                <a:srgbClr val="78FAAE"/>
              </a:solidFill>
            </a:endParaRPr>
          </a:p>
          <a:p>
            <a:r>
              <a:rPr lang="cs-CZ" sz="1227" dirty="0">
                <a:solidFill>
                  <a:schemeClr val="bg1"/>
                </a:solidFill>
              </a:rPr>
              <a:t>Jednotná cenová sazba </a:t>
            </a:r>
          </a:p>
        </p:txBody>
      </p:sp>
      <p:sp>
        <p:nvSpPr>
          <p:cNvPr id="4" name="Nadpis 4">
            <a:extLst>
              <a:ext uri="{FF2B5EF4-FFF2-40B4-BE49-F238E27FC236}">
                <a16:creationId xmlns:a16="http://schemas.microsoft.com/office/drawing/2014/main" id="{4C93B68D-0FC7-DBDA-D8D0-2DCB2AA77D31}"/>
              </a:ext>
            </a:extLst>
          </p:cNvPr>
          <p:cNvSpPr txBox="1">
            <a:spLocks/>
          </p:cNvSpPr>
          <p:nvPr/>
        </p:nvSpPr>
        <p:spPr>
          <a:xfrm>
            <a:off x="449263" y="269875"/>
            <a:ext cx="9793287" cy="360000"/>
          </a:xfrm>
          <a:prstGeom prst="rect">
            <a:avLst/>
          </a:prstGeom>
        </p:spPr>
        <p:txBody>
          <a:bodyPr/>
          <a:lstStyle>
            <a:lvl1pPr algn="l" defTabSz="1043056" rtl="0" eaLnBrk="1" latinLnBrk="0" hangingPunct="1">
              <a:lnSpc>
                <a:spcPts val="2600"/>
              </a:lnSpc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cs-CZ" dirty="0">
                <a:solidFill>
                  <a:srgbClr val="78FAAE"/>
                </a:solidFill>
              </a:rPr>
              <a:t>Nabíjecí platformy</a:t>
            </a:r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632850D2-E837-63AC-5189-8A0AF46914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8D877B3-D348-4611-9BDB-C5374591D951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414436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Obrázek 39" descr="Obsah obrázku text, snímek obrazovky, Písmo, software&#10;&#10;Popis byl vytvořen automaticky">
            <a:extLst>
              <a:ext uri="{FF2B5EF4-FFF2-40B4-BE49-F238E27FC236}">
                <a16:creationId xmlns:a16="http://schemas.microsoft.com/office/drawing/2014/main" id="{18EC41F6-172E-3BE6-4CA5-4E45DF37D5E1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65122" y="2222561"/>
            <a:ext cx="1058588" cy="2290894"/>
          </a:xfrm>
          <a:prstGeom prst="rect">
            <a:avLst/>
          </a:prstGeom>
        </p:spPr>
      </p:pic>
      <p:pic>
        <p:nvPicPr>
          <p:cNvPr id="38" name="Obrázek 37" descr="Obsah obrázku text, snímek obrazovky, mapa, diagram&#10;&#10;Popis byl vytvořen automaticky">
            <a:extLst>
              <a:ext uri="{FF2B5EF4-FFF2-40B4-BE49-F238E27FC236}">
                <a16:creationId xmlns:a16="http://schemas.microsoft.com/office/drawing/2014/main" id="{CAC0E948-2D90-2817-8168-BC44BDD6249B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5448" y="2222561"/>
            <a:ext cx="1056715" cy="2290894"/>
          </a:xfrm>
          <a:prstGeom prst="rect">
            <a:avLst/>
          </a:prstGeom>
        </p:spPr>
      </p:pic>
      <p:pic>
        <p:nvPicPr>
          <p:cNvPr id="36" name="Obrázek 35" descr="Obsah obrázku text, snímek obrazovky, Písmo, dokument&#10;&#10;Popis byl vytvořen automaticky">
            <a:extLst>
              <a:ext uri="{FF2B5EF4-FFF2-40B4-BE49-F238E27FC236}">
                <a16:creationId xmlns:a16="http://schemas.microsoft.com/office/drawing/2014/main" id="{F8B5965C-5046-12C5-02F2-C129301EC632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7041" y="2222561"/>
            <a:ext cx="1058588" cy="2290894"/>
          </a:xfrm>
          <a:prstGeom prst="rect">
            <a:avLst/>
          </a:prstGeom>
        </p:spPr>
      </p:pic>
      <p:pic>
        <p:nvPicPr>
          <p:cNvPr id="34" name="Obrázek 33" descr="Obsah obrázku text, mapa, snímek obrazovky, diagram&#10;&#10;Popis byl vytvořen automaticky">
            <a:extLst>
              <a:ext uri="{FF2B5EF4-FFF2-40B4-BE49-F238E27FC236}">
                <a16:creationId xmlns:a16="http://schemas.microsoft.com/office/drawing/2014/main" id="{A5474911-7759-F127-1EEF-7303DC10991D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0877" y="2222561"/>
            <a:ext cx="1058588" cy="2290894"/>
          </a:xfrm>
          <a:prstGeom prst="rect">
            <a:avLst/>
          </a:prstGeom>
        </p:spPr>
      </p:pic>
      <p:sp>
        <p:nvSpPr>
          <p:cNvPr id="2" name="Zástupný symbol pro číslo snímku 1">
            <a:extLst>
              <a:ext uri="{FF2B5EF4-FFF2-40B4-BE49-F238E27FC236}">
                <a16:creationId xmlns:a16="http://schemas.microsoft.com/office/drawing/2014/main" id="{ADF53341-3CA9-124F-047F-CA125BD5489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956721-BB38-4972-8ACD-5A2C9377E3B4}" type="slidenum">
              <a:rPr lang="cs-CZ" noProof="0" smtClean="0"/>
              <a:pPr/>
              <a:t>6</a:t>
            </a:fld>
            <a:endParaRPr lang="cs-CZ" noProof="0" dirty="0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10D24A6E-6E75-1872-6095-1E85D04917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S15 | 08.06.2023 | Future city tech | VTO | Miroslav Holan</a:t>
            </a:r>
            <a:endParaRPr lang="cs-CZ" noProof="0" dirty="0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46AEDB21-DE0B-6206-83D9-5CA27BA8830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cs-CZ" dirty="0"/>
              <a:t>Uživatelské rozhraní</a:t>
            </a:r>
          </a:p>
        </p:txBody>
      </p:sp>
      <p:sp>
        <p:nvSpPr>
          <p:cNvPr id="5" name="Nadpis 4">
            <a:extLst>
              <a:ext uri="{FF2B5EF4-FFF2-40B4-BE49-F238E27FC236}">
                <a16:creationId xmlns:a16="http://schemas.microsoft.com/office/drawing/2014/main" id="{1B11C48A-B0CA-D412-E192-187B97EB68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/>
              <a:t>Powerpass</a:t>
            </a:r>
            <a:endParaRPr lang="cs-CZ" dirty="0"/>
          </a:p>
        </p:txBody>
      </p:sp>
      <p:sp>
        <p:nvSpPr>
          <p:cNvPr id="12" name="TextBox 4">
            <a:extLst>
              <a:ext uri="{FF2B5EF4-FFF2-40B4-BE49-F238E27FC236}">
                <a16:creationId xmlns:a16="http://schemas.microsoft.com/office/drawing/2014/main" id="{DFF13DC4-EC85-33C5-3317-44974482D062}"/>
              </a:ext>
            </a:extLst>
          </p:cNvPr>
          <p:cNvSpPr txBox="1"/>
          <p:nvPr/>
        </p:nvSpPr>
        <p:spPr>
          <a:xfrm>
            <a:off x="879158" y="1039550"/>
            <a:ext cx="196104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04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sng" strike="noStrike" kern="1200" cap="none" spc="0" normalizeH="0" baseline="0" noProof="0" dirty="0">
                <a:ln>
                  <a:noFill/>
                </a:ln>
                <a:solidFill>
                  <a:srgbClr val="0E3A2F"/>
                </a:solidFill>
                <a:effectLst/>
                <a:uLnTx/>
                <a:uFillTx/>
                <a:latin typeface="SKODA Next"/>
                <a:ea typeface="+mn-ea"/>
                <a:cs typeface="SKODA Next Black"/>
              </a:rPr>
              <a:t>01</a:t>
            </a:r>
            <a:r>
              <a:rPr kumimoji="0" lang="en-US" sz="4800" b="1" i="0" u="none" strike="noStrike" kern="1200" cap="none" spc="0" normalizeH="0" baseline="30000" noProof="0" dirty="0">
                <a:ln>
                  <a:noFill/>
                </a:ln>
                <a:solidFill>
                  <a:srgbClr val="0E3A2F"/>
                </a:solidFill>
                <a:effectLst/>
                <a:uLnTx/>
                <a:uFillTx/>
                <a:latin typeface="SKODA Next"/>
                <a:ea typeface="+mn-ea"/>
                <a:cs typeface="SKODA Next Black"/>
              </a:rPr>
              <a:t> 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9A5BA2A5-3A6D-1DFE-97DC-ED6062A93498}"/>
              </a:ext>
            </a:extLst>
          </p:cNvPr>
          <p:cNvSpPr txBox="1"/>
          <p:nvPr/>
        </p:nvSpPr>
        <p:spPr>
          <a:xfrm>
            <a:off x="0" y="1847349"/>
            <a:ext cx="3741503" cy="30753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104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99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KODA Next Light" panose="020B0304020603020204" pitchFamily="34" charset="0"/>
                <a:ea typeface="+mn-ea"/>
                <a:cs typeface="+mn-cs"/>
              </a:rPr>
              <a:t>Mapa nabíjecích stanic s jejich aktuální</a:t>
            </a:r>
            <a:br>
              <a:rPr kumimoji="0" lang="cs-CZ" sz="999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KODA Next Light" panose="020B0304020603020204" pitchFamily="34" charset="0"/>
                <a:ea typeface="+mn-ea"/>
                <a:cs typeface="+mn-cs"/>
              </a:rPr>
            </a:br>
            <a:r>
              <a:rPr kumimoji="0" lang="cs-CZ" sz="999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KODA Next Light" panose="020B0304020603020204" pitchFamily="34" charset="0"/>
                <a:ea typeface="+mn-ea"/>
                <a:cs typeface="+mn-cs"/>
              </a:rPr>
              <a:t>dostupností a možností filtrace </a:t>
            </a:r>
          </a:p>
        </p:txBody>
      </p:sp>
      <p:sp>
        <p:nvSpPr>
          <p:cNvPr id="14" name="TextBox 4">
            <a:extLst>
              <a:ext uri="{FF2B5EF4-FFF2-40B4-BE49-F238E27FC236}">
                <a16:creationId xmlns:a16="http://schemas.microsoft.com/office/drawing/2014/main" id="{020FE36E-77D4-A12C-30A1-1E98A31CA143}"/>
              </a:ext>
            </a:extLst>
          </p:cNvPr>
          <p:cNvSpPr txBox="1"/>
          <p:nvPr/>
        </p:nvSpPr>
        <p:spPr>
          <a:xfrm>
            <a:off x="879158" y="2136935"/>
            <a:ext cx="196104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04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sng" strike="noStrike" kern="1200" cap="none" spc="0" normalizeH="0" baseline="0" noProof="0" dirty="0">
                <a:ln>
                  <a:noFill/>
                </a:ln>
                <a:solidFill>
                  <a:srgbClr val="0E3A2F"/>
                </a:solidFill>
                <a:effectLst/>
                <a:uLnTx/>
                <a:uFillTx/>
                <a:latin typeface="SKODA Next"/>
                <a:ea typeface="+mn-ea"/>
                <a:cs typeface="SKODA Next Black"/>
              </a:rPr>
              <a:t>02</a:t>
            </a:r>
            <a:r>
              <a:rPr kumimoji="0" lang="en-US" sz="4800" b="1" i="0" u="none" strike="noStrike" kern="1200" cap="none" spc="0" normalizeH="0" baseline="30000" noProof="0" dirty="0">
                <a:ln>
                  <a:noFill/>
                </a:ln>
                <a:solidFill>
                  <a:srgbClr val="0E3A2F"/>
                </a:solidFill>
                <a:effectLst/>
                <a:uLnTx/>
                <a:uFillTx/>
                <a:latin typeface="SKODA Next"/>
                <a:ea typeface="+mn-ea"/>
                <a:cs typeface="SKODA Next Black"/>
              </a:rPr>
              <a:t> 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22380AFF-BABE-4346-9747-E5CB9FB9C2AC}"/>
              </a:ext>
            </a:extLst>
          </p:cNvPr>
          <p:cNvSpPr txBox="1"/>
          <p:nvPr/>
        </p:nvSpPr>
        <p:spPr>
          <a:xfrm>
            <a:off x="0" y="2944734"/>
            <a:ext cx="3741503" cy="1537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104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99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KODA Next Light" panose="020B0304020603020204" pitchFamily="34" charset="0"/>
                <a:ea typeface="+mn-ea"/>
                <a:cs typeface="+mn-cs"/>
              </a:rPr>
              <a:t>Navigace k vybranému nabíjecímu bodu </a:t>
            </a:r>
          </a:p>
        </p:txBody>
      </p:sp>
      <p:sp>
        <p:nvSpPr>
          <p:cNvPr id="16" name="TextBox 4">
            <a:extLst>
              <a:ext uri="{FF2B5EF4-FFF2-40B4-BE49-F238E27FC236}">
                <a16:creationId xmlns:a16="http://schemas.microsoft.com/office/drawing/2014/main" id="{20E4F506-20D7-9E1D-ADAE-1BB04BBD7726}"/>
              </a:ext>
            </a:extLst>
          </p:cNvPr>
          <p:cNvSpPr txBox="1"/>
          <p:nvPr/>
        </p:nvSpPr>
        <p:spPr>
          <a:xfrm>
            <a:off x="879158" y="3134395"/>
            <a:ext cx="196104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04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sng" strike="noStrike" kern="1200" cap="none" spc="0" normalizeH="0" baseline="0" noProof="0" dirty="0">
                <a:ln>
                  <a:noFill/>
                </a:ln>
                <a:solidFill>
                  <a:srgbClr val="0E3A2F"/>
                </a:solidFill>
                <a:effectLst/>
                <a:uLnTx/>
                <a:uFillTx/>
                <a:latin typeface="SKODA Next"/>
                <a:ea typeface="+mn-ea"/>
                <a:cs typeface="SKODA Next Black"/>
              </a:rPr>
              <a:t>03</a:t>
            </a:r>
            <a:r>
              <a:rPr kumimoji="0" lang="en-US" sz="4800" b="1" i="0" u="none" strike="noStrike" kern="1200" cap="none" spc="0" normalizeH="0" baseline="30000" noProof="0" dirty="0">
                <a:ln>
                  <a:noFill/>
                </a:ln>
                <a:solidFill>
                  <a:srgbClr val="0E3A2F"/>
                </a:solidFill>
                <a:effectLst/>
                <a:uLnTx/>
                <a:uFillTx/>
                <a:latin typeface="SKODA Next"/>
                <a:ea typeface="+mn-ea"/>
                <a:cs typeface="SKODA Next Black"/>
              </a:rPr>
              <a:t> </a:t>
            </a: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3EA78780-5C9B-5974-33EF-73B60373FDE9}"/>
              </a:ext>
            </a:extLst>
          </p:cNvPr>
          <p:cNvSpPr txBox="1"/>
          <p:nvPr/>
        </p:nvSpPr>
        <p:spPr>
          <a:xfrm>
            <a:off x="0" y="3942194"/>
            <a:ext cx="3741503" cy="1537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104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99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KODA Next Light" panose="020B0304020603020204" pitchFamily="34" charset="0"/>
                <a:ea typeface="+mn-ea"/>
                <a:cs typeface="+mn-cs"/>
              </a:rPr>
              <a:t>Přehledná historie nabíjení</a:t>
            </a:r>
          </a:p>
        </p:txBody>
      </p:sp>
      <p:sp>
        <p:nvSpPr>
          <p:cNvPr id="18" name="TextBox 4">
            <a:extLst>
              <a:ext uri="{FF2B5EF4-FFF2-40B4-BE49-F238E27FC236}">
                <a16:creationId xmlns:a16="http://schemas.microsoft.com/office/drawing/2014/main" id="{C5D9819A-BE56-5810-81D6-37BB4DA01001}"/>
              </a:ext>
            </a:extLst>
          </p:cNvPr>
          <p:cNvSpPr txBox="1"/>
          <p:nvPr/>
        </p:nvSpPr>
        <p:spPr>
          <a:xfrm>
            <a:off x="879158" y="4158746"/>
            <a:ext cx="196104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04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sng" strike="noStrike" kern="1200" cap="none" spc="0" normalizeH="0" baseline="0" noProof="0" dirty="0">
                <a:ln>
                  <a:noFill/>
                </a:ln>
                <a:solidFill>
                  <a:srgbClr val="0E3A2F"/>
                </a:solidFill>
                <a:effectLst/>
                <a:uLnTx/>
                <a:uFillTx/>
                <a:latin typeface="SKODA Next"/>
                <a:ea typeface="+mn-ea"/>
                <a:cs typeface="SKODA Next Black"/>
              </a:rPr>
              <a:t>04</a:t>
            </a:r>
            <a:r>
              <a:rPr kumimoji="0" lang="en-US" sz="4800" b="1" i="0" u="none" strike="noStrike" kern="1200" cap="none" spc="0" normalizeH="0" baseline="30000" noProof="0" dirty="0">
                <a:ln>
                  <a:noFill/>
                </a:ln>
                <a:solidFill>
                  <a:srgbClr val="0E3A2F"/>
                </a:solidFill>
                <a:effectLst/>
                <a:uLnTx/>
                <a:uFillTx/>
                <a:latin typeface="SKODA Next"/>
                <a:ea typeface="+mn-ea"/>
                <a:cs typeface="SKODA Next Black"/>
              </a:rPr>
              <a:t> </a:t>
            </a: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20310116-8954-2961-7293-11943C9EA4AF}"/>
              </a:ext>
            </a:extLst>
          </p:cNvPr>
          <p:cNvSpPr txBox="1"/>
          <p:nvPr/>
        </p:nvSpPr>
        <p:spPr>
          <a:xfrm>
            <a:off x="0" y="4966545"/>
            <a:ext cx="3741503" cy="30753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104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99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KODA Next Light" panose="020B0304020603020204" pitchFamily="34" charset="0"/>
                <a:ea typeface="+mn-ea"/>
                <a:cs typeface="+mn-cs"/>
              </a:rPr>
              <a:t>Po spárování lze ovládat chytré </a:t>
            </a:r>
            <a:r>
              <a:rPr kumimoji="0" lang="cs-CZ" sz="999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SKODA Next Light" panose="020B0304020603020204" pitchFamily="34" charset="0"/>
                <a:ea typeface="+mn-ea"/>
                <a:cs typeface="+mn-cs"/>
              </a:rPr>
              <a:t>wallboxy</a:t>
            </a:r>
            <a:br>
              <a:rPr kumimoji="0" lang="cs-CZ" sz="999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KODA Next Light" panose="020B0304020603020204" pitchFamily="34" charset="0"/>
                <a:ea typeface="+mn-ea"/>
                <a:cs typeface="+mn-cs"/>
              </a:rPr>
            </a:br>
            <a:r>
              <a:rPr kumimoji="0" lang="cs-CZ" sz="999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KODA Next Light" panose="020B0304020603020204" pitchFamily="34" charset="0"/>
                <a:ea typeface="+mn-ea"/>
                <a:cs typeface="+mn-cs"/>
              </a:rPr>
              <a:t>ŠKODA </a:t>
            </a:r>
            <a:r>
              <a:rPr kumimoji="0" lang="cs-CZ" sz="999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SKODA Next Light" panose="020B0304020603020204" pitchFamily="34" charset="0"/>
                <a:ea typeface="+mn-ea"/>
                <a:cs typeface="+mn-cs"/>
              </a:rPr>
              <a:t>iV</a:t>
            </a:r>
            <a:r>
              <a:rPr kumimoji="0" lang="cs-CZ" sz="999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KODA Next Light" panose="020B0304020603020204" pitchFamily="34" charset="0"/>
                <a:ea typeface="+mn-ea"/>
                <a:cs typeface="+mn-cs"/>
              </a:rPr>
              <a:t> </a:t>
            </a:r>
            <a:r>
              <a:rPr kumimoji="0" lang="cs-CZ" sz="999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SKODA Next Light" panose="020B0304020603020204" pitchFamily="34" charset="0"/>
                <a:ea typeface="+mn-ea"/>
                <a:cs typeface="+mn-cs"/>
              </a:rPr>
              <a:t>Charger</a:t>
            </a:r>
            <a:r>
              <a:rPr kumimoji="0" lang="cs-CZ" sz="999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KODA Next Light" panose="020B0304020603020204" pitchFamily="34" charset="0"/>
                <a:ea typeface="+mn-ea"/>
                <a:cs typeface="+mn-cs"/>
              </a:rPr>
              <a:t> </a:t>
            </a:r>
            <a:r>
              <a:rPr kumimoji="0" lang="cs-CZ" sz="999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SKODA Next Light" panose="020B0304020603020204" pitchFamily="34" charset="0"/>
                <a:ea typeface="+mn-ea"/>
                <a:cs typeface="+mn-cs"/>
              </a:rPr>
              <a:t>Connect</a:t>
            </a:r>
            <a:r>
              <a:rPr kumimoji="0" lang="cs-CZ" sz="999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KODA Next Light" panose="020B0304020603020204" pitchFamily="34" charset="0"/>
                <a:ea typeface="+mn-ea"/>
                <a:cs typeface="+mn-cs"/>
              </a:rPr>
              <a:t> a </a:t>
            </a:r>
            <a:r>
              <a:rPr kumimoji="0" lang="cs-CZ" sz="999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SKODA Next Light" panose="020B0304020603020204" pitchFamily="34" charset="0"/>
                <a:ea typeface="+mn-ea"/>
                <a:cs typeface="+mn-cs"/>
              </a:rPr>
              <a:t>Connect</a:t>
            </a:r>
            <a:r>
              <a:rPr kumimoji="0" lang="cs-CZ" sz="999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KODA Next Light" panose="020B0304020603020204" pitchFamily="34" charset="0"/>
                <a:ea typeface="+mn-ea"/>
                <a:cs typeface="+mn-cs"/>
              </a:rPr>
              <a:t>+</a:t>
            </a:r>
          </a:p>
        </p:txBody>
      </p:sp>
      <p:pic>
        <p:nvPicPr>
          <p:cNvPr id="8" name="Obrázek 7" descr="Obsah obrázku snímek obrazovky, Mobilní telefon, přístroj, smartphone&#10;&#10;Popis byl vytvořen automaticky">
            <a:extLst>
              <a:ext uri="{FF2B5EF4-FFF2-40B4-BE49-F238E27FC236}">
                <a16:creationId xmlns:a16="http://schemas.microsoft.com/office/drawing/2014/main" id="{FDB9684B-B7BF-FE0C-02A9-2CF5482CC5D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4930" y="2154882"/>
            <a:ext cx="1190481" cy="2426253"/>
          </a:xfrm>
          <a:prstGeom prst="rect">
            <a:avLst/>
          </a:prstGeom>
        </p:spPr>
      </p:pic>
      <p:pic>
        <p:nvPicPr>
          <p:cNvPr id="9" name="Obrázek 8" descr="Obsah obrázku snímek obrazovky, Mobilní telefon, přístroj, smartphone&#10;&#10;Popis byl vytvořen automaticky">
            <a:extLst>
              <a:ext uri="{FF2B5EF4-FFF2-40B4-BE49-F238E27FC236}">
                <a16:creationId xmlns:a16="http://schemas.microsoft.com/office/drawing/2014/main" id="{7DCD76BC-1539-A914-DFE0-B7979E8458B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01094" y="2154882"/>
            <a:ext cx="1190481" cy="2426253"/>
          </a:xfrm>
          <a:prstGeom prst="rect">
            <a:avLst/>
          </a:prstGeom>
        </p:spPr>
      </p:pic>
      <p:pic>
        <p:nvPicPr>
          <p:cNvPr id="20" name="Obrázek 19" descr="Obsah obrázku snímek obrazovky, Mobilní telefon, přístroj, smartphone&#10;&#10;Popis byl vytvořen automaticky">
            <a:extLst>
              <a:ext uri="{FF2B5EF4-FFF2-40B4-BE49-F238E27FC236}">
                <a16:creationId xmlns:a16="http://schemas.microsoft.com/office/drawing/2014/main" id="{ED1EB753-ABB4-C50E-439F-2DFDAE6BF16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3012" y="2154882"/>
            <a:ext cx="1190481" cy="2426253"/>
          </a:xfrm>
          <a:prstGeom prst="rect">
            <a:avLst/>
          </a:prstGeom>
        </p:spPr>
      </p:pic>
      <p:pic>
        <p:nvPicPr>
          <p:cNvPr id="21" name="Obrázek 20" descr="Obsah obrázku snímek obrazovky, Mobilní telefon, přístroj, smartphone&#10;&#10;Popis byl vytvořen automaticky">
            <a:extLst>
              <a:ext uri="{FF2B5EF4-FFF2-40B4-BE49-F238E27FC236}">
                <a16:creationId xmlns:a16="http://schemas.microsoft.com/office/drawing/2014/main" id="{AE407438-7482-4310-A925-EDF2280A426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99176" y="2154882"/>
            <a:ext cx="1190481" cy="24262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245860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číslo snímku 1">
            <a:extLst>
              <a:ext uri="{FF2B5EF4-FFF2-40B4-BE49-F238E27FC236}">
                <a16:creationId xmlns:a16="http://schemas.microsoft.com/office/drawing/2014/main" id="{58E0DFE5-E105-EC28-03D1-192C4AFCB0A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956721-BB38-4972-8ACD-5A2C9377E3B4}" type="slidenum">
              <a:rPr lang="cs-CZ" noProof="0" smtClean="0"/>
              <a:pPr/>
              <a:t>7</a:t>
            </a:fld>
            <a:endParaRPr lang="cs-CZ" noProof="0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EA69B7F6-6E30-C867-2003-AB60A9DD0C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S15 | 08.06.2023 | Future city tech | VTO | Miroslav Holan</a:t>
            </a:r>
            <a:endParaRPr lang="cs-CZ" noProof="0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274284F3-95B1-CB5D-EA21-9F566EB8E86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cs-CZ" dirty="0"/>
              <a:t>Uživatelské rozhraní</a:t>
            </a:r>
          </a:p>
        </p:txBody>
      </p:sp>
      <p:sp>
        <p:nvSpPr>
          <p:cNvPr id="5" name="Nadpis 4">
            <a:extLst>
              <a:ext uri="{FF2B5EF4-FFF2-40B4-BE49-F238E27FC236}">
                <a16:creationId xmlns:a16="http://schemas.microsoft.com/office/drawing/2014/main" id="{129AAA79-0393-0018-B008-144C409DB7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/>
              <a:t>Chargee</a:t>
            </a:r>
            <a:endParaRPr lang="cs-CZ" dirty="0"/>
          </a:p>
        </p:txBody>
      </p:sp>
      <p:pic>
        <p:nvPicPr>
          <p:cNvPr id="11" name="Zástupný symbol obrázku 7" descr="Obsah obrázku text, monitor, elektronika, displej&#10;&#10;Popis byl vytvořen automaticky">
            <a:extLst>
              <a:ext uri="{FF2B5EF4-FFF2-40B4-BE49-F238E27FC236}">
                <a16:creationId xmlns:a16="http://schemas.microsoft.com/office/drawing/2014/main" id="{420CE02B-E105-172E-5BE4-88C6100C523E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 rotWithShape="1">
          <a:blip r:embed="rId2"/>
          <a:srcRect l="396" t="-301" r="4524" b="301"/>
          <a:stretch/>
        </p:blipFill>
        <p:spPr>
          <a:xfrm>
            <a:off x="5503863" y="1515979"/>
            <a:ext cx="4248150" cy="2675021"/>
          </a:xfrm>
          <a:prstGeom prst="rect">
            <a:avLst/>
          </a:prstGeom>
        </p:spPr>
      </p:pic>
      <p:pic>
        <p:nvPicPr>
          <p:cNvPr id="20" name="Obrázek 19">
            <a:extLst>
              <a:ext uri="{FF2B5EF4-FFF2-40B4-BE49-F238E27FC236}">
                <a16:creationId xmlns:a16="http://schemas.microsoft.com/office/drawing/2014/main" id="{3A467C16-B92A-5562-1774-9C8C0FA96E4E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3"/>
          <a:stretch>
            <a:fillRect/>
          </a:stretch>
        </p:blipFill>
        <p:spPr>
          <a:xfrm rot="846217">
            <a:off x="5036294" y="585621"/>
            <a:ext cx="4385736" cy="4672502"/>
          </a:xfrm>
          <a:prstGeom prst="rect">
            <a:avLst/>
          </a:prstGeom>
        </p:spPr>
      </p:pic>
      <p:pic>
        <p:nvPicPr>
          <p:cNvPr id="22" name="Obrázek 21">
            <a:extLst>
              <a:ext uri="{FF2B5EF4-FFF2-40B4-BE49-F238E27FC236}">
                <a16:creationId xmlns:a16="http://schemas.microsoft.com/office/drawing/2014/main" id="{080042C8-98D4-9DBE-D433-969B30CBE9A6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00022" y="523596"/>
            <a:ext cx="4385736" cy="4672502"/>
          </a:xfrm>
          <a:prstGeom prst="rect">
            <a:avLst/>
          </a:prstGeom>
        </p:spPr>
      </p:pic>
      <p:pic>
        <p:nvPicPr>
          <p:cNvPr id="31" name="Obrázek 30" descr="Obsah obrázku text, monitor, exteriér&#10;&#10;Popis byl vytvořen automaticky">
            <a:extLst>
              <a:ext uri="{FF2B5EF4-FFF2-40B4-BE49-F238E27FC236}">
                <a16:creationId xmlns:a16="http://schemas.microsoft.com/office/drawing/2014/main" id="{C34BA44A-C77A-8011-E96D-5E62B3ABFF2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183097" y="1941094"/>
            <a:ext cx="1325723" cy="2752453"/>
          </a:xfrm>
          <a:prstGeom prst="rect">
            <a:avLst/>
          </a:prstGeom>
        </p:spPr>
      </p:pic>
      <p:pic>
        <p:nvPicPr>
          <p:cNvPr id="32" name="Obrázek 31" descr="Obsah obrázku text, monitor, telefon, mobilní telefon&#10;&#10;Popis byl vytvořen automaticky">
            <a:extLst>
              <a:ext uri="{FF2B5EF4-FFF2-40B4-BE49-F238E27FC236}">
                <a16:creationId xmlns:a16="http://schemas.microsoft.com/office/drawing/2014/main" id="{D757C087-CBFA-2501-9FAF-AA869EF49EC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78079" y="1941094"/>
            <a:ext cx="1325723" cy="2752453"/>
          </a:xfrm>
          <a:prstGeom prst="rect">
            <a:avLst/>
          </a:prstGeom>
        </p:spPr>
      </p:pic>
      <p:pic>
        <p:nvPicPr>
          <p:cNvPr id="33" name="Obrázek 32" descr="Obsah obrázku mapa&#10;&#10;Popis byl vytvořen automaticky">
            <a:extLst>
              <a:ext uri="{FF2B5EF4-FFF2-40B4-BE49-F238E27FC236}">
                <a16:creationId xmlns:a16="http://schemas.microsoft.com/office/drawing/2014/main" id="{5448EF9A-C7A8-DC41-0328-0EAF5273767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66826" y="1941095"/>
            <a:ext cx="1325723" cy="2752453"/>
          </a:xfrm>
          <a:prstGeom prst="rect">
            <a:avLst/>
          </a:prstGeom>
        </p:spPr>
      </p:pic>
      <p:pic>
        <p:nvPicPr>
          <p:cNvPr id="34" name="Obrázek 33" descr="Obsah obrázku text, elektronika&#10;&#10;Popis byl vytvořen automaticky">
            <a:extLst>
              <a:ext uri="{FF2B5EF4-FFF2-40B4-BE49-F238E27FC236}">
                <a16:creationId xmlns:a16="http://schemas.microsoft.com/office/drawing/2014/main" id="{C6150153-7180-D0A7-6EBC-0B97AAFB8E7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961808" y="1941096"/>
            <a:ext cx="1325723" cy="2752453"/>
          </a:xfrm>
          <a:prstGeom prst="rect">
            <a:avLst/>
          </a:prstGeom>
        </p:spPr>
      </p:pic>
      <p:sp>
        <p:nvSpPr>
          <p:cNvPr id="35" name="TextBox 4">
            <a:extLst>
              <a:ext uri="{FF2B5EF4-FFF2-40B4-BE49-F238E27FC236}">
                <a16:creationId xmlns:a16="http://schemas.microsoft.com/office/drawing/2014/main" id="{69B54A4F-088C-4E31-B8BC-02DB4C90460A}"/>
              </a:ext>
            </a:extLst>
          </p:cNvPr>
          <p:cNvSpPr txBox="1"/>
          <p:nvPr/>
        </p:nvSpPr>
        <p:spPr>
          <a:xfrm>
            <a:off x="879158" y="1039550"/>
            <a:ext cx="196104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04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sng" strike="noStrike" kern="1200" cap="none" spc="0" normalizeH="0" baseline="0" noProof="0" dirty="0">
                <a:ln>
                  <a:noFill/>
                </a:ln>
                <a:solidFill>
                  <a:srgbClr val="78FAAE"/>
                </a:solidFill>
                <a:effectLst/>
                <a:uLnTx/>
                <a:uFillTx/>
                <a:latin typeface="SKODA Next"/>
                <a:ea typeface="+mn-ea"/>
                <a:cs typeface="SKODA Next Black"/>
              </a:rPr>
              <a:t>01</a:t>
            </a:r>
            <a:r>
              <a:rPr kumimoji="0" lang="en-US" sz="4800" b="1" i="0" u="none" strike="noStrike" kern="1200" cap="none" spc="0" normalizeH="0" baseline="30000" noProof="0" dirty="0">
                <a:ln>
                  <a:noFill/>
                </a:ln>
                <a:solidFill>
                  <a:srgbClr val="78FAAE"/>
                </a:solidFill>
                <a:effectLst/>
                <a:uLnTx/>
                <a:uFillTx/>
                <a:latin typeface="SKODA Next"/>
                <a:ea typeface="+mn-ea"/>
                <a:cs typeface="SKODA Next Black"/>
              </a:rPr>
              <a:t> </a:t>
            </a:r>
          </a:p>
        </p:txBody>
      </p:sp>
      <p:sp>
        <p:nvSpPr>
          <p:cNvPr id="36" name="TextovéPole 35">
            <a:extLst>
              <a:ext uri="{FF2B5EF4-FFF2-40B4-BE49-F238E27FC236}">
                <a16:creationId xmlns:a16="http://schemas.microsoft.com/office/drawing/2014/main" id="{120CE2E2-F6B0-20FF-53DF-22614F8D9730}"/>
              </a:ext>
            </a:extLst>
          </p:cNvPr>
          <p:cNvSpPr txBox="1"/>
          <p:nvPr/>
        </p:nvSpPr>
        <p:spPr>
          <a:xfrm>
            <a:off x="0" y="1847349"/>
            <a:ext cx="3741503" cy="30753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104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99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KODA Next Light" panose="020B0304020603020204" pitchFamily="34" charset="0"/>
                <a:ea typeface="+mn-ea"/>
                <a:cs typeface="+mn-cs"/>
              </a:rPr>
              <a:t>Mapa nabíjecích stanic s jejich aktuální</a:t>
            </a:r>
            <a:br>
              <a:rPr kumimoji="0" lang="cs-CZ" sz="999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KODA Next Light" panose="020B0304020603020204" pitchFamily="34" charset="0"/>
                <a:ea typeface="+mn-ea"/>
                <a:cs typeface="+mn-cs"/>
              </a:rPr>
            </a:br>
            <a:r>
              <a:rPr kumimoji="0" lang="cs-CZ" sz="999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KODA Next Light" panose="020B0304020603020204" pitchFamily="34" charset="0"/>
                <a:ea typeface="+mn-ea"/>
                <a:cs typeface="+mn-cs"/>
              </a:rPr>
              <a:t>dostupností a možností filtrace </a:t>
            </a:r>
          </a:p>
        </p:txBody>
      </p:sp>
      <p:sp>
        <p:nvSpPr>
          <p:cNvPr id="37" name="TextBox 4">
            <a:extLst>
              <a:ext uri="{FF2B5EF4-FFF2-40B4-BE49-F238E27FC236}">
                <a16:creationId xmlns:a16="http://schemas.microsoft.com/office/drawing/2014/main" id="{DD59064D-F274-A3DF-48B6-F5706224E199}"/>
              </a:ext>
            </a:extLst>
          </p:cNvPr>
          <p:cNvSpPr txBox="1"/>
          <p:nvPr/>
        </p:nvSpPr>
        <p:spPr>
          <a:xfrm>
            <a:off x="879158" y="2136935"/>
            <a:ext cx="196104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04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sng" strike="noStrike" kern="1200" cap="none" spc="0" normalizeH="0" baseline="0" noProof="0" dirty="0">
                <a:ln>
                  <a:noFill/>
                </a:ln>
                <a:solidFill>
                  <a:srgbClr val="78FAAE"/>
                </a:solidFill>
                <a:effectLst/>
                <a:uLnTx/>
                <a:uFillTx/>
                <a:latin typeface="SKODA Next"/>
                <a:ea typeface="+mn-ea"/>
                <a:cs typeface="SKODA Next Black"/>
              </a:rPr>
              <a:t>02</a:t>
            </a:r>
            <a:r>
              <a:rPr kumimoji="0" lang="en-US" sz="4800" b="1" i="0" u="none" strike="noStrike" kern="1200" cap="none" spc="0" normalizeH="0" baseline="30000" noProof="0" dirty="0">
                <a:ln>
                  <a:noFill/>
                </a:ln>
                <a:solidFill>
                  <a:srgbClr val="78FAAE"/>
                </a:solidFill>
                <a:effectLst/>
                <a:uLnTx/>
                <a:uFillTx/>
                <a:latin typeface="SKODA Next"/>
                <a:ea typeface="+mn-ea"/>
                <a:cs typeface="SKODA Next Black"/>
              </a:rPr>
              <a:t> </a:t>
            </a:r>
          </a:p>
        </p:txBody>
      </p:sp>
      <p:sp>
        <p:nvSpPr>
          <p:cNvPr id="38" name="TextovéPole 37">
            <a:extLst>
              <a:ext uri="{FF2B5EF4-FFF2-40B4-BE49-F238E27FC236}">
                <a16:creationId xmlns:a16="http://schemas.microsoft.com/office/drawing/2014/main" id="{FED429C4-4D5F-E640-5271-23E0A9D298EF}"/>
              </a:ext>
            </a:extLst>
          </p:cNvPr>
          <p:cNvSpPr txBox="1"/>
          <p:nvPr/>
        </p:nvSpPr>
        <p:spPr>
          <a:xfrm>
            <a:off x="0" y="2944734"/>
            <a:ext cx="3741503" cy="1537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104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99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KODA Next Light" panose="020B0304020603020204" pitchFamily="34" charset="0"/>
                <a:ea typeface="+mn-ea"/>
                <a:cs typeface="+mn-cs"/>
              </a:rPr>
              <a:t>Navigace k vybranému nabíjecímu bodu </a:t>
            </a:r>
          </a:p>
        </p:txBody>
      </p:sp>
      <p:sp>
        <p:nvSpPr>
          <p:cNvPr id="39" name="TextBox 4">
            <a:extLst>
              <a:ext uri="{FF2B5EF4-FFF2-40B4-BE49-F238E27FC236}">
                <a16:creationId xmlns:a16="http://schemas.microsoft.com/office/drawing/2014/main" id="{B957C933-9FF1-84B4-6ABC-38E283B18809}"/>
              </a:ext>
            </a:extLst>
          </p:cNvPr>
          <p:cNvSpPr txBox="1"/>
          <p:nvPr/>
        </p:nvSpPr>
        <p:spPr>
          <a:xfrm>
            <a:off x="879158" y="3134395"/>
            <a:ext cx="196104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04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sng" strike="noStrike" kern="1200" cap="none" spc="0" normalizeH="0" baseline="0" noProof="0" dirty="0">
                <a:ln>
                  <a:noFill/>
                </a:ln>
                <a:solidFill>
                  <a:srgbClr val="78FAAE"/>
                </a:solidFill>
                <a:effectLst/>
                <a:uLnTx/>
                <a:uFillTx/>
                <a:latin typeface="SKODA Next"/>
                <a:ea typeface="+mn-ea"/>
                <a:cs typeface="SKODA Next Black"/>
              </a:rPr>
              <a:t>03</a:t>
            </a:r>
            <a:r>
              <a:rPr kumimoji="0" lang="en-US" sz="4800" b="1" i="0" u="none" strike="noStrike" kern="1200" cap="none" spc="0" normalizeH="0" baseline="30000" noProof="0" dirty="0">
                <a:ln>
                  <a:noFill/>
                </a:ln>
                <a:solidFill>
                  <a:srgbClr val="78FAAE"/>
                </a:solidFill>
                <a:effectLst/>
                <a:uLnTx/>
                <a:uFillTx/>
                <a:latin typeface="SKODA Next"/>
                <a:ea typeface="+mn-ea"/>
                <a:cs typeface="SKODA Next Black"/>
              </a:rPr>
              <a:t> </a:t>
            </a:r>
          </a:p>
        </p:txBody>
      </p:sp>
      <p:sp>
        <p:nvSpPr>
          <p:cNvPr id="40" name="TextovéPole 39">
            <a:extLst>
              <a:ext uri="{FF2B5EF4-FFF2-40B4-BE49-F238E27FC236}">
                <a16:creationId xmlns:a16="http://schemas.microsoft.com/office/drawing/2014/main" id="{EC1DB266-D51C-96A9-E7E6-18FC3F7EFCFD}"/>
              </a:ext>
            </a:extLst>
          </p:cNvPr>
          <p:cNvSpPr txBox="1"/>
          <p:nvPr/>
        </p:nvSpPr>
        <p:spPr>
          <a:xfrm>
            <a:off x="0" y="3942194"/>
            <a:ext cx="3741503" cy="1537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104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99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KODA Next Light" panose="020B0304020603020204" pitchFamily="34" charset="0"/>
                <a:ea typeface="+mn-ea"/>
                <a:cs typeface="+mn-cs"/>
              </a:rPr>
              <a:t>Přehledná historie nabíjení</a:t>
            </a:r>
          </a:p>
        </p:txBody>
      </p:sp>
      <p:sp>
        <p:nvSpPr>
          <p:cNvPr id="41" name="TextBox 4">
            <a:extLst>
              <a:ext uri="{FF2B5EF4-FFF2-40B4-BE49-F238E27FC236}">
                <a16:creationId xmlns:a16="http://schemas.microsoft.com/office/drawing/2014/main" id="{922E9D8A-B75D-CFC8-D9F7-3A52B9AE8135}"/>
              </a:ext>
            </a:extLst>
          </p:cNvPr>
          <p:cNvSpPr txBox="1"/>
          <p:nvPr/>
        </p:nvSpPr>
        <p:spPr>
          <a:xfrm>
            <a:off x="879158" y="4158746"/>
            <a:ext cx="196104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04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sng" strike="noStrike" kern="1200" cap="none" spc="0" normalizeH="0" baseline="0" noProof="0" dirty="0">
                <a:ln>
                  <a:noFill/>
                </a:ln>
                <a:solidFill>
                  <a:srgbClr val="78FAAE"/>
                </a:solidFill>
                <a:effectLst/>
                <a:uLnTx/>
                <a:uFillTx/>
                <a:latin typeface="SKODA Next"/>
                <a:ea typeface="+mn-ea"/>
                <a:cs typeface="SKODA Next Black"/>
              </a:rPr>
              <a:t>04</a:t>
            </a:r>
            <a:r>
              <a:rPr kumimoji="0" lang="en-US" sz="4800" b="1" i="0" u="none" strike="noStrike" kern="1200" cap="none" spc="0" normalizeH="0" baseline="30000" noProof="0" dirty="0">
                <a:ln>
                  <a:noFill/>
                </a:ln>
                <a:solidFill>
                  <a:srgbClr val="78FAAE"/>
                </a:solidFill>
                <a:effectLst/>
                <a:uLnTx/>
                <a:uFillTx/>
                <a:latin typeface="SKODA Next"/>
                <a:ea typeface="+mn-ea"/>
                <a:cs typeface="SKODA Next Black"/>
              </a:rPr>
              <a:t> </a:t>
            </a:r>
          </a:p>
        </p:txBody>
      </p:sp>
      <p:sp>
        <p:nvSpPr>
          <p:cNvPr id="42" name="TextovéPole 41">
            <a:extLst>
              <a:ext uri="{FF2B5EF4-FFF2-40B4-BE49-F238E27FC236}">
                <a16:creationId xmlns:a16="http://schemas.microsoft.com/office/drawing/2014/main" id="{E7AFD7BF-CC52-24E3-6BB7-D3F1AE367F7A}"/>
              </a:ext>
            </a:extLst>
          </p:cNvPr>
          <p:cNvSpPr txBox="1"/>
          <p:nvPr/>
        </p:nvSpPr>
        <p:spPr>
          <a:xfrm>
            <a:off x="0" y="4966545"/>
            <a:ext cx="3741503" cy="30753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104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99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KODA Next Light" panose="020B0304020603020204" pitchFamily="34" charset="0"/>
                <a:ea typeface="+mn-ea"/>
                <a:cs typeface="+mn-cs"/>
              </a:rPr>
              <a:t>Možnost iniciace nabíjení z mapy</a:t>
            </a:r>
            <a:br>
              <a:rPr kumimoji="0" lang="cs-CZ" sz="999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KODA Next Light" panose="020B0304020603020204" pitchFamily="34" charset="0"/>
                <a:ea typeface="+mn-ea"/>
                <a:cs typeface="+mn-cs"/>
              </a:rPr>
            </a:br>
            <a:r>
              <a:rPr kumimoji="0" lang="cs-CZ" sz="999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KODA Next Light" panose="020B0304020603020204" pitchFamily="34" charset="0"/>
                <a:ea typeface="+mn-ea"/>
                <a:cs typeface="+mn-cs"/>
              </a:rPr>
              <a:t>i pomocí QR kódu na stanici</a:t>
            </a:r>
          </a:p>
        </p:txBody>
      </p:sp>
    </p:spTree>
    <p:extLst>
      <p:ext uri="{BB962C8B-B14F-4D97-AF65-F5344CB8AC3E}">
        <p14:creationId xmlns:p14="http://schemas.microsoft.com/office/powerpoint/2010/main" val="113060372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číslo snímku 1">
            <a:extLst>
              <a:ext uri="{FF2B5EF4-FFF2-40B4-BE49-F238E27FC236}">
                <a16:creationId xmlns:a16="http://schemas.microsoft.com/office/drawing/2014/main" id="{58E0DFE5-E105-EC28-03D1-192C4AFCB0A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956721-BB38-4972-8ACD-5A2C9377E3B4}" type="slidenum">
              <a:rPr lang="cs-CZ" noProof="0" smtClean="0"/>
              <a:pPr/>
              <a:t>8</a:t>
            </a:fld>
            <a:endParaRPr lang="cs-CZ" noProof="0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EA69B7F6-6E30-C867-2003-AB60A9DD0C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S15 | 08.06.2023 | Future city tech | VTO | Miroslav Holan</a:t>
            </a:r>
            <a:endParaRPr lang="cs-CZ" noProof="0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274284F3-95B1-CB5D-EA21-9F566EB8E86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cs-CZ" dirty="0" err="1"/>
              <a:t>Fleetový</a:t>
            </a:r>
            <a:r>
              <a:rPr lang="cs-CZ" dirty="0"/>
              <a:t> manažer</a:t>
            </a:r>
          </a:p>
        </p:txBody>
      </p:sp>
      <p:sp>
        <p:nvSpPr>
          <p:cNvPr id="5" name="Nadpis 4">
            <a:extLst>
              <a:ext uri="{FF2B5EF4-FFF2-40B4-BE49-F238E27FC236}">
                <a16:creationId xmlns:a16="http://schemas.microsoft.com/office/drawing/2014/main" id="{129AAA79-0393-0018-B008-144C409DB7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/>
              <a:t>Chargee</a:t>
            </a:r>
            <a:endParaRPr lang="cs-CZ" dirty="0"/>
          </a:p>
        </p:txBody>
      </p:sp>
      <p:pic>
        <p:nvPicPr>
          <p:cNvPr id="11" name="Zástupný symbol obrázku 7" descr="Obsah obrázku text, monitor, elektronika, displej&#10;&#10;Popis byl vytvořen automaticky">
            <a:extLst>
              <a:ext uri="{FF2B5EF4-FFF2-40B4-BE49-F238E27FC236}">
                <a16:creationId xmlns:a16="http://schemas.microsoft.com/office/drawing/2014/main" id="{420CE02B-E105-172E-5BE4-88C6100C523E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 rotWithShape="1">
          <a:blip r:embed="rId2"/>
          <a:srcRect l="396" t="-301" r="4524" b="301"/>
          <a:stretch/>
        </p:blipFill>
        <p:spPr>
          <a:xfrm>
            <a:off x="5503863" y="1515979"/>
            <a:ext cx="4248150" cy="2675021"/>
          </a:xfrm>
          <a:prstGeom prst="rect">
            <a:avLst/>
          </a:prstGeom>
        </p:spPr>
      </p:pic>
      <p:sp>
        <p:nvSpPr>
          <p:cNvPr id="12" name="TextBox 4">
            <a:extLst>
              <a:ext uri="{FF2B5EF4-FFF2-40B4-BE49-F238E27FC236}">
                <a16:creationId xmlns:a16="http://schemas.microsoft.com/office/drawing/2014/main" id="{0C7B0B81-EEE7-7DA9-0977-950EBAF15505}"/>
              </a:ext>
            </a:extLst>
          </p:cNvPr>
          <p:cNvSpPr txBox="1"/>
          <p:nvPr/>
        </p:nvSpPr>
        <p:spPr>
          <a:xfrm>
            <a:off x="1194715" y="1399489"/>
            <a:ext cx="1961044" cy="3997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04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98" b="1" i="0" u="sng" strike="noStrike" kern="1200" cap="none" spc="0" normalizeH="0" baseline="0" noProof="0" dirty="0">
                <a:ln>
                  <a:noFill/>
                </a:ln>
                <a:solidFill>
                  <a:srgbClr val="78FAAE"/>
                </a:solidFill>
                <a:effectLst/>
                <a:uLnTx/>
                <a:uFillTx/>
                <a:latin typeface="SKODA Next"/>
                <a:ea typeface="+mn-ea"/>
                <a:cs typeface="SKODA Next Black"/>
              </a:rPr>
              <a:t>ON-LINE</a:t>
            </a:r>
            <a:endParaRPr kumimoji="0" lang="en-US" sz="1998" b="1" i="0" u="none" strike="noStrike" kern="1200" cap="none" spc="0" normalizeH="0" baseline="30000" noProof="0" dirty="0">
              <a:ln>
                <a:noFill/>
              </a:ln>
              <a:solidFill>
                <a:srgbClr val="78FAAE"/>
              </a:solidFill>
              <a:effectLst/>
              <a:uLnTx/>
              <a:uFillTx/>
              <a:latin typeface="SKODA Next"/>
              <a:ea typeface="+mn-ea"/>
              <a:cs typeface="SKODA Next Black"/>
            </a:endParaRP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1675D2DC-E2D8-0888-4C66-4B3E2C9C4246}"/>
              </a:ext>
            </a:extLst>
          </p:cNvPr>
          <p:cNvSpPr txBox="1"/>
          <p:nvPr/>
        </p:nvSpPr>
        <p:spPr>
          <a:xfrm>
            <a:off x="-100367" y="1799282"/>
            <a:ext cx="4551207" cy="1537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104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99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KODA Next Light" panose="020B0304020603020204" pitchFamily="34" charset="0"/>
                <a:ea typeface="+mn-ea"/>
                <a:cs typeface="+mn-cs"/>
              </a:rPr>
              <a:t>On-line monitoring firemní elektrizované flotily</a:t>
            </a:r>
          </a:p>
        </p:txBody>
      </p:sp>
      <p:sp>
        <p:nvSpPr>
          <p:cNvPr id="14" name="TextBox 4">
            <a:extLst>
              <a:ext uri="{FF2B5EF4-FFF2-40B4-BE49-F238E27FC236}">
                <a16:creationId xmlns:a16="http://schemas.microsoft.com/office/drawing/2014/main" id="{34D78D8F-08AB-7BB9-1AFD-C577D16F62F7}"/>
              </a:ext>
            </a:extLst>
          </p:cNvPr>
          <p:cNvSpPr txBox="1"/>
          <p:nvPr/>
        </p:nvSpPr>
        <p:spPr>
          <a:xfrm>
            <a:off x="1194715" y="2169935"/>
            <a:ext cx="1961044" cy="3997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04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998" b="1" i="0" u="sng" strike="noStrike" kern="1200" cap="none" spc="0" normalizeH="0" baseline="0" noProof="0" dirty="0">
                <a:ln>
                  <a:noFill/>
                </a:ln>
                <a:solidFill>
                  <a:srgbClr val="78FAAE"/>
                </a:solidFill>
                <a:effectLst/>
                <a:uLnTx/>
                <a:uFillTx/>
                <a:latin typeface="SKODA Next" panose="020B0504020603020204" pitchFamily="34" charset="0"/>
                <a:ea typeface="+mn-ea"/>
                <a:cs typeface="+mn-cs"/>
              </a:rPr>
              <a:t>CHARGEE ID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B86D61F9-03F3-AF52-687D-73C109BA4A04}"/>
              </a:ext>
            </a:extLst>
          </p:cNvPr>
          <p:cNvSpPr txBox="1"/>
          <p:nvPr/>
        </p:nvSpPr>
        <p:spPr>
          <a:xfrm>
            <a:off x="-100367" y="2569729"/>
            <a:ext cx="4551207" cy="30753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104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99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KODA Next Light" panose="020B0304020603020204" pitchFamily="34" charset="0"/>
                <a:ea typeface="+mn-ea"/>
                <a:cs typeface="+mn-cs"/>
              </a:rPr>
              <a:t>Informace o dobíjení zaměstnanců podle</a:t>
            </a:r>
            <a:br>
              <a:rPr kumimoji="0" lang="cs-CZ" sz="999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KODA Next Light" panose="020B0304020603020204" pitchFamily="34" charset="0"/>
                <a:ea typeface="+mn-ea"/>
                <a:cs typeface="+mn-cs"/>
              </a:rPr>
            </a:br>
            <a:r>
              <a:rPr kumimoji="0" lang="cs-CZ" sz="999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SKODA Next Light" panose="020B0304020603020204" pitchFamily="34" charset="0"/>
                <a:ea typeface="+mn-ea"/>
                <a:cs typeface="+mn-cs"/>
              </a:rPr>
              <a:t>Chargee</a:t>
            </a:r>
            <a:r>
              <a:rPr kumimoji="0" lang="cs-CZ" sz="999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KODA Next Light" panose="020B0304020603020204" pitchFamily="34" charset="0"/>
                <a:ea typeface="+mn-ea"/>
                <a:cs typeface="+mn-cs"/>
              </a:rPr>
              <a:t> ID (karta/aplikace)</a:t>
            </a:r>
          </a:p>
        </p:txBody>
      </p:sp>
      <p:sp>
        <p:nvSpPr>
          <p:cNvPr id="16" name="TextBox 4">
            <a:extLst>
              <a:ext uri="{FF2B5EF4-FFF2-40B4-BE49-F238E27FC236}">
                <a16:creationId xmlns:a16="http://schemas.microsoft.com/office/drawing/2014/main" id="{806708C4-42CD-D6EA-1AC2-26E5C1778B8F}"/>
              </a:ext>
            </a:extLst>
          </p:cNvPr>
          <p:cNvSpPr txBox="1"/>
          <p:nvPr/>
        </p:nvSpPr>
        <p:spPr>
          <a:xfrm>
            <a:off x="1194715" y="3100596"/>
            <a:ext cx="1961044" cy="3997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04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998" b="1" i="0" u="sng" strike="noStrike" kern="1200" cap="none" spc="0" normalizeH="0" baseline="0" noProof="0" dirty="0">
                <a:ln>
                  <a:noFill/>
                </a:ln>
                <a:solidFill>
                  <a:srgbClr val="78FAAE"/>
                </a:solidFill>
                <a:effectLst/>
                <a:uLnTx/>
                <a:uFillTx/>
                <a:latin typeface="SKODA Next" panose="020B0504020603020204" pitchFamily="34" charset="0"/>
                <a:ea typeface="+mn-ea"/>
                <a:cs typeface="+mn-cs"/>
              </a:rPr>
              <a:t>FAKTURACE</a:t>
            </a: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37D5F302-3D8C-BED7-BFDB-74F75023FA37}"/>
              </a:ext>
            </a:extLst>
          </p:cNvPr>
          <p:cNvSpPr txBox="1"/>
          <p:nvPr/>
        </p:nvSpPr>
        <p:spPr>
          <a:xfrm>
            <a:off x="-100367" y="3500389"/>
            <a:ext cx="4551207" cy="461280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104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99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KODA Next Light" panose="020B0304020603020204" pitchFamily="34" charset="0"/>
                <a:ea typeface="+mn-ea"/>
                <a:cs typeface="+mn-cs"/>
              </a:rPr>
              <a:t>Automatizované reporty a fakturace</a:t>
            </a:r>
          </a:p>
          <a:p>
            <a:pPr marL="0" marR="0" lvl="0" indent="0" algn="ctr" defTabSz="104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99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KODA Next Light" panose="020B0304020603020204" pitchFamily="34" charset="0"/>
                <a:ea typeface="+mn-ea"/>
                <a:cs typeface="+mn-cs"/>
              </a:rPr>
              <a:t>z domácího, veřejného</a:t>
            </a:r>
          </a:p>
          <a:p>
            <a:pPr marL="0" marR="0" lvl="0" indent="0" algn="ctr" defTabSz="104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99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KODA Next Light" panose="020B0304020603020204" pitchFamily="34" charset="0"/>
                <a:ea typeface="+mn-ea"/>
                <a:cs typeface="+mn-cs"/>
              </a:rPr>
              <a:t>a firemního dobíjení </a:t>
            </a:r>
          </a:p>
        </p:txBody>
      </p:sp>
      <p:sp>
        <p:nvSpPr>
          <p:cNvPr id="18" name="TextBox 4">
            <a:extLst>
              <a:ext uri="{FF2B5EF4-FFF2-40B4-BE49-F238E27FC236}">
                <a16:creationId xmlns:a16="http://schemas.microsoft.com/office/drawing/2014/main" id="{9CADFCEB-3FB2-D8EB-8454-45F90BBEFCCF}"/>
              </a:ext>
            </a:extLst>
          </p:cNvPr>
          <p:cNvSpPr txBox="1"/>
          <p:nvPr/>
        </p:nvSpPr>
        <p:spPr>
          <a:xfrm>
            <a:off x="1194715" y="4031462"/>
            <a:ext cx="1961044" cy="3997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04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998" b="1" i="0" u="sng" strike="noStrike" kern="1200" cap="none" spc="0" normalizeH="0" baseline="0" noProof="0" dirty="0">
                <a:ln>
                  <a:noFill/>
                </a:ln>
                <a:solidFill>
                  <a:srgbClr val="78FAAE"/>
                </a:solidFill>
                <a:effectLst/>
                <a:uLnTx/>
                <a:uFillTx/>
                <a:latin typeface="SKODA Next" panose="020B0504020603020204" pitchFamily="34" charset="0"/>
                <a:ea typeface="+mn-ea"/>
                <a:cs typeface="+mn-cs"/>
              </a:rPr>
              <a:t>NASTAVENÍ</a:t>
            </a: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C5F15D9C-A25C-C6D7-8D58-5AF8D9343766}"/>
              </a:ext>
            </a:extLst>
          </p:cNvPr>
          <p:cNvSpPr txBox="1"/>
          <p:nvPr/>
        </p:nvSpPr>
        <p:spPr>
          <a:xfrm>
            <a:off x="-100367" y="4431255"/>
            <a:ext cx="4551207" cy="461300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ctr" defTabSz="104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99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KODA Next Light" panose="020B0304020603020204" pitchFamily="34" charset="0"/>
                <a:ea typeface="+mn-ea"/>
                <a:cs typeface="+mn-cs"/>
              </a:rPr>
              <a:t>Možnost nastavení různých práv podle</a:t>
            </a:r>
            <a:br>
              <a:rPr kumimoji="0" lang="cs-CZ" sz="999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KODA Next Light" panose="020B0304020603020204" pitchFamily="34" charset="0"/>
                <a:ea typeface="+mn-ea"/>
                <a:cs typeface="+mn-cs"/>
              </a:rPr>
            </a:br>
            <a:r>
              <a:rPr kumimoji="0" lang="cs-CZ" sz="999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KODA Next Light" panose="020B0304020603020204" pitchFamily="34" charset="0"/>
                <a:ea typeface="+mn-ea"/>
                <a:cs typeface="+mn-cs"/>
              </a:rPr>
              <a:t>funkce zaměstnance (přístupnost stanic</a:t>
            </a:r>
            <a:br>
              <a:rPr kumimoji="0" lang="cs-CZ" sz="999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KODA Next Light" panose="020B0304020603020204" pitchFamily="34" charset="0"/>
                <a:ea typeface="+mn-ea"/>
                <a:cs typeface="+mn-cs"/>
              </a:rPr>
            </a:br>
            <a:r>
              <a:rPr kumimoji="0" lang="cs-CZ" sz="999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KODA Next Light" panose="020B0304020603020204" pitchFamily="34" charset="0"/>
                <a:ea typeface="+mn-ea"/>
                <a:cs typeface="+mn-cs"/>
              </a:rPr>
              <a:t> údaje o ostatních uživatelích) </a:t>
            </a:r>
          </a:p>
        </p:txBody>
      </p:sp>
    </p:spTree>
    <p:extLst>
      <p:ext uri="{BB962C8B-B14F-4D97-AF65-F5344CB8AC3E}">
        <p14:creationId xmlns:p14="http://schemas.microsoft.com/office/powerpoint/2010/main" val="74914429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číslo snímku 1">
            <a:extLst>
              <a:ext uri="{FF2B5EF4-FFF2-40B4-BE49-F238E27FC236}">
                <a16:creationId xmlns:a16="http://schemas.microsoft.com/office/drawing/2014/main" id="{9356BA6A-B10E-A21C-3502-356FF81BD59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956721-BB38-4972-8ACD-5A2C9377E3B4}" type="slidenum">
              <a:rPr lang="cs-CZ" noProof="0" smtClean="0"/>
              <a:pPr/>
              <a:t>9</a:t>
            </a:fld>
            <a:endParaRPr lang="cs-CZ" noProof="0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CCCEEB10-2045-CA55-8505-3DD5250A0A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S15 | 08.06.2023 | Future city tech | VTO | Miroslav Holan</a:t>
            </a:r>
            <a:endParaRPr lang="cs-CZ" noProof="0"/>
          </a:p>
        </p:txBody>
      </p:sp>
      <p:sp>
        <p:nvSpPr>
          <p:cNvPr id="5" name="Nadpis 4">
            <a:extLst>
              <a:ext uri="{FF2B5EF4-FFF2-40B4-BE49-F238E27FC236}">
                <a16:creationId xmlns:a16="http://schemas.microsoft.com/office/drawing/2014/main" id="{7EB705B6-6824-0AED-CEE4-E30C21C669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Koncept energeticky udržitelného podniku</a:t>
            </a:r>
          </a:p>
        </p:txBody>
      </p:sp>
      <p:pic>
        <p:nvPicPr>
          <p:cNvPr id="6" name="Obrázek 5">
            <a:extLst>
              <a:ext uri="{FF2B5EF4-FFF2-40B4-BE49-F238E27FC236}">
                <a16:creationId xmlns:a16="http://schemas.microsoft.com/office/drawing/2014/main" id="{999455D1-DE8E-E49A-D731-E9C5F05D338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0518" b="2146"/>
          <a:stretch/>
        </p:blipFill>
        <p:spPr>
          <a:xfrm>
            <a:off x="2297095" y="885399"/>
            <a:ext cx="5833445" cy="44570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12727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ŠKODA A4 Widescreen CI">
  <a:themeElements>
    <a:clrScheme name="ŠKODA CI">
      <a:dk1>
        <a:sysClr val="windowText" lastClr="000000"/>
      </a:dk1>
      <a:lt1>
        <a:sysClr val="window" lastClr="FFFFFF"/>
      </a:lt1>
      <a:dk2>
        <a:srgbClr val="F15252"/>
      </a:dk2>
      <a:lt2>
        <a:srgbClr val="FAEB67"/>
      </a:lt2>
      <a:accent1>
        <a:srgbClr val="0E3A2F"/>
      </a:accent1>
      <a:accent2>
        <a:srgbClr val="78FAAE"/>
      </a:accent2>
      <a:accent3>
        <a:srgbClr val="6F797A"/>
      </a:accent3>
      <a:accent4>
        <a:srgbClr val="CACECF"/>
      </a:accent4>
      <a:accent5>
        <a:srgbClr val="1ED4DF"/>
      </a:accent5>
      <a:accent6>
        <a:srgbClr val="F7B046"/>
      </a:accent6>
      <a:hlink>
        <a:srgbClr val="000000"/>
      </a:hlink>
      <a:folHlink>
        <a:srgbClr val="000000"/>
      </a:folHlink>
    </a:clrScheme>
    <a:fontScheme name="SKODA Next">
      <a:majorFont>
        <a:latin typeface="SKODA Next"/>
        <a:ea typeface=""/>
        <a:cs typeface=""/>
      </a:majorFont>
      <a:minorFont>
        <a:latin typeface="SKODA Next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ŠKODA CI">
        <a:dk1>
          <a:sysClr val="windowText" lastClr="000000"/>
        </a:dk1>
        <a:lt1>
          <a:sysClr val="window" lastClr="FFFFFF"/>
        </a:lt1>
        <a:dk2>
          <a:srgbClr val="F15252"/>
        </a:dk2>
        <a:lt2>
          <a:srgbClr val="FAEB67"/>
        </a:lt2>
        <a:accent1>
          <a:srgbClr val="0E3A2F"/>
        </a:accent1>
        <a:accent2>
          <a:srgbClr val="78FAAE"/>
        </a:accent2>
        <a:accent3>
          <a:srgbClr val="6F797A"/>
        </a:accent3>
        <a:accent4>
          <a:srgbClr val="CACECF"/>
        </a:accent4>
        <a:accent5>
          <a:srgbClr val="1ED4DF"/>
        </a:accent5>
        <a:accent6>
          <a:srgbClr val="F7B046"/>
        </a:accent6>
        <a:hlink>
          <a:srgbClr val="000000"/>
        </a:hlink>
        <a:folHlink>
          <a:srgbClr val="000000"/>
        </a:folHlink>
      </a:clrScheme>
    </a:extraClrScheme>
  </a:extraClrSchemeLst>
  <a:custClrLst>
    <a:custClr name="Emerald Green">
      <a:srgbClr val="0E3A2F"/>
    </a:custClr>
    <a:custClr name="Electric Green">
      <a:srgbClr val="78FAAE"/>
    </a:custClr>
    <a:custClr name="Red">
      <a:srgbClr val="F15252"/>
    </a:custClr>
    <a:custClr name="Blue">
      <a:srgbClr val="0961A1"/>
    </a:custClr>
    <a:custClr name="Teal">
      <a:srgbClr val="1ED4DF"/>
    </a:custClr>
    <a:custClr name="Yellow">
      <a:srgbClr val="FAEB67"/>
    </a:custClr>
    <a:custClr name="Orange">
      <a:srgbClr val="F7B046"/>
    </a:custClr>
  </a:custClrLst>
  <a:extLst>
    <a:ext uri="{05A4C25C-085E-4340-85A3-A5531E510DB2}">
      <thm15:themeFamily xmlns:thm15="http://schemas.microsoft.com/office/thememl/2012/main" name="SKODA 2022 Preliminary Sample Presentation V0.25 CZ.potx" id="{6C887517-3DBD-4356-A8B4-04BE46D70DDB}" vid="{3B23E20D-48E8-45D9-8580-14371DCBDEA2}"/>
    </a:ext>
  </a:extLst>
</a:theme>
</file>

<file path=ppt/theme/theme2.xml><?xml version="1.0" encoding="utf-8"?>
<a:theme xmlns:a="http://schemas.openxmlformats.org/drawingml/2006/main" name="ŠKODA A4 Widescreen GREYSCALE">
  <a:themeElements>
    <a:clrScheme name="ŠKODA CI">
      <a:dk1>
        <a:sysClr val="windowText" lastClr="000000"/>
      </a:dk1>
      <a:lt1>
        <a:sysClr val="window" lastClr="FFFFFF"/>
      </a:lt1>
      <a:dk2>
        <a:srgbClr val="E5E5E5"/>
      </a:dk2>
      <a:lt2>
        <a:srgbClr val="747474"/>
      </a:lt2>
      <a:accent1>
        <a:srgbClr val="303030"/>
      </a:accent1>
      <a:accent2>
        <a:srgbClr val="D9D9D9"/>
      </a:accent2>
      <a:accent3>
        <a:srgbClr val="777777"/>
      </a:accent3>
      <a:accent4>
        <a:srgbClr val="CDCDCD"/>
      </a:accent4>
      <a:accent5>
        <a:srgbClr val="AEAEAE"/>
      </a:accent5>
      <a:accent6>
        <a:srgbClr val="B7B7B7"/>
      </a:accent6>
      <a:hlink>
        <a:srgbClr val="000000"/>
      </a:hlink>
      <a:folHlink>
        <a:srgbClr val="000000"/>
      </a:folHlink>
    </a:clrScheme>
    <a:fontScheme name="SKODA Next">
      <a:majorFont>
        <a:latin typeface="SKODA Next"/>
        <a:ea typeface=""/>
        <a:cs typeface=""/>
      </a:majorFont>
      <a:minorFont>
        <a:latin typeface="SKODA Next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ŠKODA CI">
        <a:dk1>
          <a:sysClr val="windowText" lastClr="000000"/>
        </a:dk1>
        <a:lt1>
          <a:sysClr val="window" lastClr="FFFFFF"/>
        </a:lt1>
        <a:dk2>
          <a:srgbClr val="E5E5E5"/>
        </a:dk2>
        <a:lt2>
          <a:srgbClr val="747474"/>
        </a:lt2>
        <a:accent1>
          <a:srgbClr val="303030"/>
        </a:accent1>
        <a:accent2>
          <a:srgbClr val="D9D9D9"/>
        </a:accent2>
        <a:accent3>
          <a:srgbClr val="777777"/>
        </a:accent3>
        <a:accent4>
          <a:srgbClr val="CDCDCD"/>
        </a:accent4>
        <a:accent5>
          <a:srgbClr val="AEAEAE"/>
        </a:accent5>
        <a:accent6>
          <a:srgbClr val="B7B7B7"/>
        </a:accent6>
        <a:hlink>
          <a:srgbClr val="000000"/>
        </a:hlink>
        <a:folHlink>
          <a:srgbClr val="000000"/>
        </a:folHlink>
      </a:clrScheme>
    </a:extraClrScheme>
  </a:extraClrSchemeLst>
  <a:custClrLst>
    <a:custClr name="Emerald Green">
      <a:srgbClr val="303030"/>
    </a:custClr>
    <a:custClr name="Electric Green">
      <a:srgbClr val="D9D9D9"/>
    </a:custClr>
    <a:custClr name="Red">
      <a:srgbClr val="747474"/>
    </a:custClr>
    <a:custClr name="Blue">
      <a:srgbClr val="535353"/>
    </a:custClr>
    <a:custClr name="Teal">
      <a:srgbClr val="AEAEAE"/>
    </a:custClr>
    <a:custClr name="Yellow">
      <a:srgbClr val="E5E5E5"/>
    </a:custClr>
    <a:custClr name="Orange">
      <a:srgbClr val="B7B7B7"/>
    </a:custClr>
  </a:custClrLst>
  <a:extLst>
    <a:ext uri="{05A4C25C-085E-4340-85A3-A5531E510DB2}">
      <thm15:themeFamily xmlns:thm15="http://schemas.microsoft.com/office/thememl/2012/main" name="SKODA 2022 Preliminary Sample Presentation V0.25 CZ.potx" id="{6C887517-3DBD-4356-A8B4-04BE46D70DDB}" vid="{3AE30677-0ED6-495B-937B-AE417E799E01}"/>
    </a:ext>
  </a:extLst>
</a:theme>
</file>

<file path=ppt/theme/theme3.xml><?xml version="1.0" encoding="utf-8"?>
<a:theme xmlns:a="http://schemas.openxmlformats.org/drawingml/2006/main" name="1_ŠKODA A4 Widescreen CI">
  <a:themeElements>
    <a:clrScheme name="ŠKODA CI">
      <a:dk1>
        <a:sysClr val="windowText" lastClr="000000"/>
      </a:dk1>
      <a:lt1>
        <a:sysClr val="window" lastClr="FFFFFF"/>
      </a:lt1>
      <a:dk2>
        <a:srgbClr val="F15252"/>
      </a:dk2>
      <a:lt2>
        <a:srgbClr val="FAEB67"/>
      </a:lt2>
      <a:accent1>
        <a:srgbClr val="0E3A2F"/>
      </a:accent1>
      <a:accent2>
        <a:srgbClr val="78FAAE"/>
      </a:accent2>
      <a:accent3>
        <a:srgbClr val="6F797A"/>
      </a:accent3>
      <a:accent4>
        <a:srgbClr val="CACECF"/>
      </a:accent4>
      <a:accent5>
        <a:srgbClr val="1ED4DF"/>
      </a:accent5>
      <a:accent6>
        <a:srgbClr val="F7B046"/>
      </a:accent6>
      <a:hlink>
        <a:srgbClr val="000000"/>
      </a:hlink>
      <a:folHlink>
        <a:srgbClr val="000000"/>
      </a:folHlink>
    </a:clrScheme>
    <a:fontScheme name="SKODA Next">
      <a:majorFont>
        <a:latin typeface="SKODA Next"/>
        <a:ea typeface=""/>
        <a:cs typeface=""/>
      </a:majorFont>
      <a:minorFont>
        <a:latin typeface="SKODA Next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ŠKODA CI">
        <a:dk1>
          <a:sysClr val="windowText" lastClr="000000"/>
        </a:dk1>
        <a:lt1>
          <a:sysClr val="window" lastClr="FFFFFF"/>
        </a:lt1>
        <a:dk2>
          <a:srgbClr val="F15252"/>
        </a:dk2>
        <a:lt2>
          <a:srgbClr val="FAEB67"/>
        </a:lt2>
        <a:accent1>
          <a:srgbClr val="0E3A2F"/>
        </a:accent1>
        <a:accent2>
          <a:srgbClr val="78FAAE"/>
        </a:accent2>
        <a:accent3>
          <a:srgbClr val="6F797A"/>
        </a:accent3>
        <a:accent4>
          <a:srgbClr val="CACECF"/>
        </a:accent4>
        <a:accent5>
          <a:srgbClr val="1ED4DF"/>
        </a:accent5>
        <a:accent6>
          <a:srgbClr val="F7B046"/>
        </a:accent6>
        <a:hlink>
          <a:srgbClr val="000000"/>
        </a:hlink>
        <a:folHlink>
          <a:srgbClr val="000000"/>
        </a:folHlink>
      </a:clrScheme>
    </a:extraClrScheme>
  </a:extraClrSchemeLst>
  <a:custClrLst>
    <a:custClr name="Emerald Green">
      <a:srgbClr val="0E3A2F"/>
    </a:custClr>
    <a:custClr name="Electric Green">
      <a:srgbClr val="78FAAE"/>
    </a:custClr>
    <a:custClr name="Red">
      <a:srgbClr val="F15252"/>
    </a:custClr>
    <a:custClr name="Blue">
      <a:srgbClr val="0961A1"/>
    </a:custClr>
    <a:custClr name="Teal">
      <a:srgbClr val="1ED4DF"/>
    </a:custClr>
    <a:custClr name="Yellow">
      <a:srgbClr val="FAEB67"/>
    </a:custClr>
    <a:custClr name="Orange">
      <a:srgbClr val="F7B046"/>
    </a:custClr>
  </a:custClrLst>
  <a:extLst>
    <a:ext uri="{05A4C25C-085E-4340-85A3-A5531E510DB2}">
      <thm15:themeFamily xmlns:thm15="http://schemas.microsoft.com/office/thememl/2012/main" name="SKODA 2022 Preliminary Sample Presentation V0.25 CZ.potx" id="{6C887517-3DBD-4356-A8B4-04BE46D70DDB}" vid="{3B23E20D-48E8-45D9-8580-14371DCBDEA2}"/>
    </a:ext>
  </a:extLst>
</a:theme>
</file>

<file path=ppt/theme/theme4.xml><?xml version="1.0" encoding="utf-8"?>
<a:theme xmlns:a="http://schemas.openxmlformats.org/drawingml/2006/main" name="Motiv sady Office">
  <a:themeElements>
    <a:clrScheme name="ŠKODA CI">
      <a:dk1>
        <a:sysClr val="windowText" lastClr="000000"/>
      </a:dk1>
      <a:lt1>
        <a:sysClr val="window" lastClr="FFFFFF"/>
      </a:lt1>
      <a:dk2>
        <a:srgbClr val="F15252"/>
      </a:dk2>
      <a:lt2>
        <a:srgbClr val="FAEB67"/>
      </a:lt2>
      <a:accent1>
        <a:srgbClr val="0E3A2F"/>
      </a:accent1>
      <a:accent2>
        <a:srgbClr val="78FAAE"/>
      </a:accent2>
      <a:accent3>
        <a:srgbClr val="6F797A"/>
      </a:accent3>
      <a:accent4>
        <a:srgbClr val="CACECF"/>
      </a:accent4>
      <a:accent5>
        <a:srgbClr val="1ED4DF"/>
      </a:accent5>
      <a:accent6>
        <a:srgbClr val="F7B046"/>
      </a:accent6>
      <a:hlink>
        <a:srgbClr val="000000"/>
      </a:hlink>
      <a:folHlink>
        <a:srgbClr val="000000"/>
      </a:folHlink>
    </a:clrScheme>
    <a:fontScheme name="SKODA Next">
      <a:majorFont>
        <a:latin typeface="SKODA Next"/>
        <a:ea typeface=""/>
        <a:cs typeface=""/>
      </a:majorFont>
      <a:minorFont>
        <a:latin typeface="SKODA Next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ŠKODA CI">
        <a:dk1>
          <a:sysClr val="windowText" lastClr="000000"/>
        </a:dk1>
        <a:lt1>
          <a:sysClr val="window" lastClr="FFFFFF"/>
        </a:lt1>
        <a:dk2>
          <a:srgbClr val="F15252"/>
        </a:dk2>
        <a:lt2>
          <a:srgbClr val="FAEB67"/>
        </a:lt2>
        <a:accent1>
          <a:srgbClr val="0E3A2F"/>
        </a:accent1>
        <a:accent2>
          <a:srgbClr val="78FAAE"/>
        </a:accent2>
        <a:accent3>
          <a:srgbClr val="6F797A"/>
        </a:accent3>
        <a:accent4>
          <a:srgbClr val="CACECF"/>
        </a:accent4>
        <a:accent5>
          <a:srgbClr val="1ED4DF"/>
        </a:accent5>
        <a:accent6>
          <a:srgbClr val="F7B046"/>
        </a:accent6>
        <a:hlink>
          <a:srgbClr val="000000"/>
        </a:hlink>
        <a:folHlink>
          <a:srgbClr val="000000"/>
        </a:folHlink>
      </a:clrScheme>
    </a:extraClrScheme>
  </a:extraClrSchemeLst>
  <a:custClrLst>
    <a:custClr name="Emerald Green">
      <a:srgbClr val="0E3A2F"/>
    </a:custClr>
    <a:custClr name="Electric Green">
      <a:srgbClr val="78FAAE"/>
    </a:custClr>
    <a:custClr name="Red">
      <a:srgbClr val="F15252"/>
    </a:custClr>
    <a:custClr name="Blue">
      <a:srgbClr val="0961A1"/>
    </a:custClr>
    <a:custClr name="Teal">
      <a:srgbClr val="1ED4DF"/>
    </a:custClr>
    <a:custClr name="Yellow">
      <a:srgbClr val="FAEB67"/>
    </a:custClr>
    <a:custClr name="Orange">
      <a:srgbClr val="F7B046"/>
    </a:custClr>
  </a:custClrLst>
</a:theme>
</file>

<file path=ppt/theme/theme5.xml><?xml version="1.0" encoding="utf-8"?>
<a:theme xmlns:a="http://schemas.openxmlformats.org/drawingml/2006/main" name="Motiv sady Office">
  <a:themeElements>
    <a:clrScheme name="ŠKODA CI">
      <a:dk1>
        <a:sysClr val="windowText" lastClr="000000"/>
      </a:dk1>
      <a:lt1>
        <a:sysClr val="window" lastClr="FFFFFF"/>
      </a:lt1>
      <a:dk2>
        <a:srgbClr val="F15252"/>
      </a:dk2>
      <a:lt2>
        <a:srgbClr val="FAEB67"/>
      </a:lt2>
      <a:accent1>
        <a:srgbClr val="0E3A2F"/>
      </a:accent1>
      <a:accent2>
        <a:srgbClr val="78FAAE"/>
      </a:accent2>
      <a:accent3>
        <a:srgbClr val="6F797A"/>
      </a:accent3>
      <a:accent4>
        <a:srgbClr val="CACECF"/>
      </a:accent4>
      <a:accent5>
        <a:srgbClr val="1ED4DF"/>
      </a:accent5>
      <a:accent6>
        <a:srgbClr val="F7B046"/>
      </a:accent6>
      <a:hlink>
        <a:srgbClr val="000000"/>
      </a:hlink>
      <a:folHlink>
        <a:srgbClr val="000000"/>
      </a:folHlink>
    </a:clrScheme>
    <a:fontScheme name="SKODA Next">
      <a:majorFont>
        <a:latin typeface="SKODA Next"/>
        <a:ea typeface=""/>
        <a:cs typeface=""/>
      </a:majorFont>
      <a:minorFont>
        <a:latin typeface="SKODA Next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ŠKODA CI">
        <a:dk1>
          <a:sysClr val="windowText" lastClr="000000"/>
        </a:dk1>
        <a:lt1>
          <a:sysClr val="window" lastClr="FFFFFF"/>
        </a:lt1>
        <a:dk2>
          <a:srgbClr val="F15252"/>
        </a:dk2>
        <a:lt2>
          <a:srgbClr val="FAEB67"/>
        </a:lt2>
        <a:accent1>
          <a:srgbClr val="0E3A2F"/>
        </a:accent1>
        <a:accent2>
          <a:srgbClr val="78FAAE"/>
        </a:accent2>
        <a:accent3>
          <a:srgbClr val="6F797A"/>
        </a:accent3>
        <a:accent4>
          <a:srgbClr val="CACECF"/>
        </a:accent4>
        <a:accent5>
          <a:srgbClr val="1ED4DF"/>
        </a:accent5>
        <a:accent6>
          <a:srgbClr val="F7B046"/>
        </a:accent6>
        <a:hlink>
          <a:srgbClr val="000000"/>
        </a:hlink>
        <a:folHlink>
          <a:srgbClr val="000000"/>
        </a:folHlink>
      </a:clrScheme>
    </a:extraClrScheme>
  </a:extraClrSchemeLst>
  <a:custClrLst>
    <a:custClr name="Emerald Green">
      <a:srgbClr val="0E3A2F"/>
    </a:custClr>
    <a:custClr name="Electric Green">
      <a:srgbClr val="78FAAE"/>
    </a:custClr>
    <a:custClr name="Red">
      <a:srgbClr val="F15252"/>
    </a:custClr>
    <a:custClr name="Blue">
      <a:srgbClr val="0961A1"/>
    </a:custClr>
    <a:custClr name="Teal">
      <a:srgbClr val="1ED4DF"/>
    </a:custClr>
    <a:custClr name="Yellow">
      <a:srgbClr val="FAEB67"/>
    </a:custClr>
    <a:custClr name="Orange">
      <a:srgbClr val="F7B046"/>
    </a:custClr>
  </a:custClrLst>
</a:theme>
</file>

<file path=docProps/app.xml><?xml version="1.0" encoding="utf-8"?>
<Properties xmlns="http://schemas.openxmlformats.org/officeDocument/2006/extended-properties" xmlns:vt="http://schemas.openxmlformats.org/officeDocument/2006/docPropsVTypes">
  <Template>SKODA_Sablona_Sirokouhla_SKODA_Next</Template>
  <TotalTime>10578</TotalTime>
  <Words>667</Words>
  <Application>Microsoft Office PowerPoint</Application>
  <PresentationFormat>Vlastní</PresentationFormat>
  <Paragraphs>133</Paragraphs>
  <Slides>13</Slides>
  <Notes>6</Notes>
  <HiddenSlides>0</HiddenSlides>
  <MMClips>0</MMClips>
  <ScaleCrop>false</ScaleCrop>
  <HeadingPairs>
    <vt:vector size="8" baseType="variant">
      <vt:variant>
        <vt:lpstr>Použitá písma</vt:lpstr>
      </vt:variant>
      <vt:variant>
        <vt:i4>5</vt:i4>
      </vt:variant>
      <vt:variant>
        <vt:lpstr>Motiv</vt:lpstr>
      </vt:variant>
      <vt:variant>
        <vt:i4>3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13</vt:i4>
      </vt:variant>
    </vt:vector>
  </HeadingPairs>
  <TitlesOfParts>
    <vt:vector size="22" baseType="lpstr">
      <vt:lpstr>Arial</vt:lpstr>
      <vt:lpstr>SKODA Next</vt:lpstr>
      <vt:lpstr>SKODA Next Black</vt:lpstr>
      <vt:lpstr>SKODA Next Light</vt:lpstr>
      <vt:lpstr>Wingdings</vt:lpstr>
      <vt:lpstr>ŠKODA A4 Widescreen CI</vt:lpstr>
      <vt:lpstr>ŠKODA A4 Widescreen GREYSCALE</vt:lpstr>
      <vt:lpstr>1_ŠKODA A4 Widescreen CI</vt:lpstr>
      <vt:lpstr>think-cell Slide</vt:lpstr>
      <vt:lpstr>eMobility Škoda Auto</vt:lpstr>
      <vt:lpstr>V příštím desetiletí zažijeme nejsilnější regulaci automobilového trhu EU v historii </vt:lpstr>
      <vt:lpstr>Prezentace aplikace PowerPoint</vt:lpstr>
      <vt:lpstr>Prezentace aplikace PowerPoint</vt:lpstr>
      <vt:lpstr>Prezentace aplikace PowerPoint</vt:lpstr>
      <vt:lpstr>Powerpass</vt:lpstr>
      <vt:lpstr>Chargee</vt:lpstr>
      <vt:lpstr>Chargee</vt:lpstr>
      <vt:lpstr>Koncept energeticky udržitelného podniku</vt:lpstr>
      <vt:lpstr>Projekty a kooperace</vt:lpstr>
      <vt:lpstr>Prezentace aplikace PowerPoint</vt:lpstr>
      <vt:lpstr>Backup</vt:lpstr>
      <vt:lpstr>Vývoj nabíjecí infrastruktury v ČR </vt:lpstr>
    </vt:vector>
  </TitlesOfParts>
  <Manager/>
  <Company>Škoda Auto a.s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ředstavení Enyaq</dc:title>
  <dc:creator>Borgonova, Aneta (VTM)</dc:creator>
  <cp:lastModifiedBy>Bicanova, Adela (VTO)</cp:lastModifiedBy>
  <cp:revision>62</cp:revision>
  <dcterms:created xsi:type="dcterms:W3CDTF">2023-03-15T09:08:55Z</dcterms:created>
  <dcterms:modified xsi:type="dcterms:W3CDTF">2023-06-06T13:46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a6b84135-ab90-4b03-a415-784f8f15a7f1_Enabled">
    <vt:lpwstr>true</vt:lpwstr>
  </property>
  <property fmtid="{D5CDD505-2E9C-101B-9397-08002B2CF9AE}" pid="3" name="MSIP_Label_a6b84135-ab90-4b03-a415-784f8f15a7f1_SetDate">
    <vt:lpwstr>2023-03-16T12:52:57Z</vt:lpwstr>
  </property>
  <property fmtid="{D5CDD505-2E9C-101B-9397-08002B2CF9AE}" pid="4" name="MSIP_Label_a6b84135-ab90-4b03-a415-784f8f15a7f1_Method">
    <vt:lpwstr>Privileged</vt:lpwstr>
  </property>
  <property fmtid="{D5CDD505-2E9C-101B-9397-08002B2CF9AE}" pid="5" name="MSIP_Label_a6b84135-ab90-4b03-a415-784f8f15a7f1_Name">
    <vt:lpwstr>a6b84135-ab90-4b03-a415-784f8f15a7f1</vt:lpwstr>
  </property>
  <property fmtid="{D5CDD505-2E9C-101B-9397-08002B2CF9AE}" pid="6" name="MSIP_Label_a6b84135-ab90-4b03-a415-784f8f15a7f1_SiteId">
    <vt:lpwstr>2882be50-2012-4d88-ac86-544124e120c8</vt:lpwstr>
  </property>
  <property fmtid="{D5CDD505-2E9C-101B-9397-08002B2CF9AE}" pid="7" name="MSIP_Label_a6b84135-ab90-4b03-a415-784f8f15a7f1_ActionId">
    <vt:lpwstr>da07beb6-4c25-456b-9eb0-a24f0620d5a3</vt:lpwstr>
  </property>
  <property fmtid="{D5CDD505-2E9C-101B-9397-08002B2CF9AE}" pid="8" name="MSIP_Label_a6b84135-ab90-4b03-a415-784f8f15a7f1_ContentBits">
    <vt:lpwstr>0</vt:lpwstr>
  </property>
</Properties>
</file>